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media/image34.jpg" ContentType="image/jpeg"/>
  <Override PartName="/ppt/tags/tag1.xml" ContentType="application/vnd.openxmlformats-officedocument.presentationml.tags+xml"/>
  <Override PartName="/ppt/media/image58.jpg" ContentType="image/jpeg"/>
  <Override PartName="/ppt/media/image70.jpg" ContentType="image/jpeg"/>
  <Override PartName="/ppt/media/image71.jpg" ContentType="image/jpeg"/>
  <Override PartName="/ppt/media/image72.jpg" ContentType="image/jpeg"/>
  <Override PartName="/ppt/media/image103.jpg" ContentType="image/jpe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96" r:id="rId2"/>
    <p:sldMasterId id="2147483722" r:id="rId3"/>
    <p:sldMasterId id="2147483736" r:id="rId4"/>
  </p:sldMasterIdLst>
  <p:notesMasterIdLst>
    <p:notesMasterId r:id="rId29"/>
  </p:notesMasterIdLst>
  <p:handoutMasterIdLst>
    <p:handoutMasterId r:id="rId30"/>
  </p:handoutMasterIdLst>
  <p:sldIdLst>
    <p:sldId id="256" r:id="rId5"/>
    <p:sldId id="424" r:id="rId6"/>
    <p:sldId id="451" r:id="rId7"/>
    <p:sldId id="476" r:id="rId8"/>
    <p:sldId id="510" r:id="rId9"/>
    <p:sldId id="530" r:id="rId10"/>
    <p:sldId id="557" r:id="rId11"/>
    <p:sldId id="540" r:id="rId12"/>
    <p:sldId id="544" r:id="rId13"/>
    <p:sldId id="546" r:id="rId14"/>
    <p:sldId id="514" r:id="rId15"/>
    <p:sldId id="553" r:id="rId16"/>
    <p:sldId id="554" r:id="rId17"/>
    <p:sldId id="515" r:id="rId18"/>
    <p:sldId id="519" r:id="rId19"/>
    <p:sldId id="558" r:id="rId20"/>
    <p:sldId id="520" r:id="rId21"/>
    <p:sldId id="521" r:id="rId22"/>
    <p:sldId id="555" r:id="rId23"/>
    <p:sldId id="522" r:id="rId24"/>
    <p:sldId id="524" r:id="rId25"/>
    <p:sldId id="527" r:id="rId26"/>
    <p:sldId id="556" r:id="rId27"/>
    <p:sldId id="446" r:id="rId28"/>
  </p:sldIdLst>
  <p:sldSz cx="12192000" cy="6858000"/>
  <p:notesSz cx="7010400" cy="9296400"/>
  <p:defaultTextStyle>
    <a:defPPr marL="0" marR="0" indent="0" algn="l" defTabSz="914289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28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B4057"/>
        </a:solidFill>
        <a:effectLst/>
        <a:uFillTx/>
        <a:latin typeface="+mn-lt"/>
        <a:ea typeface="+mn-ea"/>
        <a:cs typeface="+mn-cs"/>
        <a:sym typeface="Helvetica"/>
      </a:defRPr>
    </a:lvl1pPr>
    <a:lvl2pPr marL="0" marR="0" indent="0" algn="l" defTabSz="91428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B4057"/>
        </a:solidFill>
        <a:effectLst/>
        <a:uFillTx/>
        <a:latin typeface="+mn-lt"/>
        <a:ea typeface="+mn-ea"/>
        <a:cs typeface="+mn-cs"/>
        <a:sym typeface="Helvetica"/>
      </a:defRPr>
    </a:lvl2pPr>
    <a:lvl3pPr marL="0" marR="0" indent="0" algn="l" defTabSz="91428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B4057"/>
        </a:solidFill>
        <a:effectLst/>
        <a:uFillTx/>
        <a:latin typeface="+mn-lt"/>
        <a:ea typeface="+mn-ea"/>
        <a:cs typeface="+mn-cs"/>
        <a:sym typeface="Helvetica"/>
      </a:defRPr>
    </a:lvl3pPr>
    <a:lvl4pPr marL="0" marR="0" indent="0" algn="l" defTabSz="91428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B4057"/>
        </a:solidFill>
        <a:effectLst/>
        <a:uFillTx/>
        <a:latin typeface="+mn-lt"/>
        <a:ea typeface="+mn-ea"/>
        <a:cs typeface="+mn-cs"/>
        <a:sym typeface="Helvetica"/>
      </a:defRPr>
    </a:lvl4pPr>
    <a:lvl5pPr marL="0" marR="0" indent="0" algn="l" defTabSz="91428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B4057"/>
        </a:solidFill>
        <a:effectLst/>
        <a:uFillTx/>
        <a:latin typeface="+mn-lt"/>
        <a:ea typeface="+mn-ea"/>
        <a:cs typeface="+mn-cs"/>
        <a:sym typeface="Helvetica"/>
      </a:defRPr>
    </a:lvl5pPr>
    <a:lvl6pPr marL="0" marR="0" indent="0" algn="l" defTabSz="91428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B4057"/>
        </a:solidFill>
        <a:effectLst/>
        <a:uFillTx/>
        <a:latin typeface="+mn-lt"/>
        <a:ea typeface="+mn-ea"/>
        <a:cs typeface="+mn-cs"/>
        <a:sym typeface="Helvetica"/>
      </a:defRPr>
    </a:lvl6pPr>
    <a:lvl7pPr marL="0" marR="0" indent="0" algn="l" defTabSz="91428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B4057"/>
        </a:solidFill>
        <a:effectLst/>
        <a:uFillTx/>
        <a:latin typeface="+mn-lt"/>
        <a:ea typeface="+mn-ea"/>
        <a:cs typeface="+mn-cs"/>
        <a:sym typeface="Helvetica"/>
      </a:defRPr>
    </a:lvl7pPr>
    <a:lvl8pPr marL="0" marR="0" indent="0" algn="l" defTabSz="91428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B4057"/>
        </a:solidFill>
        <a:effectLst/>
        <a:uFillTx/>
        <a:latin typeface="+mn-lt"/>
        <a:ea typeface="+mn-ea"/>
        <a:cs typeface="+mn-cs"/>
        <a:sym typeface="Helvetica"/>
      </a:defRPr>
    </a:lvl8pPr>
    <a:lvl9pPr marL="0" marR="0" indent="0" algn="l" defTabSz="914289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B4057"/>
        </a:solidFill>
        <a:effectLst/>
        <a:uFillTx/>
        <a:latin typeface="+mn-lt"/>
        <a:ea typeface="+mn-ea"/>
        <a:cs typeface="+mn-cs"/>
        <a:sym typeface="Helvetica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CATEL" initials="A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99"/>
    <a:srgbClr val="66FF33"/>
    <a:srgbClr val="A31A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3B4057"/>
        </a:fontRef>
        <a:srgbClr val="3B4057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6EE"/>
          </a:solidFill>
        </a:fill>
      </a:tcStyle>
    </a:wholeTbl>
    <a:band2H>
      <a:tcTxStyle/>
      <a:tcStyle>
        <a:tcBdr/>
        <a:fill>
          <a:solidFill>
            <a:srgbClr val="E6ECF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3B4057"/>
        </a:fontRef>
        <a:srgbClr val="3B4057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6EE"/>
          </a:solidFill>
        </a:fill>
      </a:tcStyle>
    </a:wholeTbl>
    <a:band2H>
      <a:tcTxStyle/>
      <a:tcStyle>
        <a:tcBdr/>
        <a:fill>
          <a:solidFill>
            <a:srgbClr val="E6ECF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3B4057"/>
        </a:fontRef>
        <a:srgbClr val="3B4057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5CFEE"/>
          </a:solidFill>
        </a:fill>
      </a:tcStyle>
    </a:wholeTbl>
    <a:band2H>
      <a:tcTxStyle/>
      <a:tcStyle>
        <a:tcBdr/>
        <a:fill>
          <a:solidFill>
            <a:srgbClr val="EBE8F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3B4057"/>
        </a:fontRef>
        <a:srgbClr val="3B4057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9CFCA"/>
          </a:solidFill>
        </a:fill>
      </a:tcStyle>
    </a:wholeTbl>
    <a:band2H>
      <a:tcTxStyle/>
      <a:tcStyle>
        <a:tcBdr/>
        <a:fill>
          <a:solidFill>
            <a:srgbClr val="EDE8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3B4057"/>
        </a:fontRef>
        <a:srgbClr val="3B4057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7E8E9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3B4057"/>
        </a:fontRef>
        <a:srgbClr val="3B4057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3B4057"/>
              </a:solidFill>
              <a:prstDash val="solid"/>
              <a:round/>
            </a:ln>
          </a:top>
          <a:bottom>
            <a:ln w="25400" cap="flat">
              <a:solidFill>
                <a:srgbClr val="3B4057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3B4057"/>
              </a:solidFill>
              <a:prstDash val="solid"/>
              <a:round/>
            </a:ln>
          </a:top>
          <a:bottom>
            <a:ln w="25400" cap="flat">
              <a:solidFill>
                <a:srgbClr val="3B4057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3B4057"/>
        </a:fontRef>
        <a:srgbClr val="3B4057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DCDD0"/>
          </a:solidFill>
        </a:fill>
      </a:tcStyle>
    </a:wholeTbl>
    <a:band2H>
      <a:tcTxStyle/>
      <a:tcStyle>
        <a:tcBdr/>
        <a:fill>
          <a:solidFill>
            <a:srgbClr val="E7E8E9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3B4057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3B4057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3B4057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2" autoAdjust="0"/>
    <p:restoredTop sz="97436" autoAdjust="0"/>
  </p:normalViewPr>
  <p:slideViewPr>
    <p:cSldViewPr>
      <p:cViewPr varScale="1">
        <p:scale>
          <a:sx n="84" d="100"/>
          <a:sy n="84" d="100"/>
        </p:scale>
        <p:origin x="45" y="91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7E7A9E-B5EC-4BFB-B36D-EA2F7F2F84B5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933E1-E1B3-4FC7-B428-C61A82407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37761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" name="Shape 509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  <p:sp>
        <p:nvSpPr>
          <p:cNvPr id="510" name="Shape 510"/>
          <p:cNvSpPr>
            <a:spLocks noGrp="1"/>
          </p:cNvSpPr>
          <p:nvPr>
            <p:ph type="body" sz="quarter" idx="1"/>
          </p:nvPr>
        </p:nvSpPr>
        <p:spPr>
          <a:xfrm>
            <a:off x="934720" y="4415790"/>
            <a:ext cx="5140960" cy="4183380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2619722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latinLnBrk="0">
      <a:defRPr sz="1200">
        <a:solidFill>
          <a:srgbClr val="3B4057"/>
        </a:solidFill>
        <a:latin typeface="+mj-lt"/>
        <a:ea typeface="+mj-ea"/>
        <a:cs typeface="+mj-cs"/>
        <a:sym typeface="Roboto Light"/>
      </a:defRPr>
    </a:lvl1pPr>
    <a:lvl2pPr indent="228573" latinLnBrk="0">
      <a:defRPr sz="1200">
        <a:solidFill>
          <a:srgbClr val="3B4057"/>
        </a:solidFill>
        <a:latin typeface="+mj-lt"/>
        <a:ea typeface="+mj-ea"/>
        <a:cs typeface="+mj-cs"/>
        <a:sym typeface="Roboto Light"/>
      </a:defRPr>
    </a:lvl2pPr>
    <a:lvl3pPr indent="457146" latinLnBrk="0">
      <a:defRPr sz="1200">
        <a:solidFill>
          <a:srgbClr val="3B4057"/>
        </a:solidFill>
        <a:latin typeface="+mj-lt"/>
        <a:ea typeface="+mj-ea"/>
        <a:cs typeface="+mj-cs"/>
        <a:sym typeface="Roboto Light"/>
      </a:defRPr>
    </a:lvl3pPr>
    <a:lvl4pPr indent="685719" latinLnBrk="0">
      <a:defRPr sz="1200">
        <a:solidFill>
          <a:srgbClr val="3B4057"/>
        </a:solidFill>
        <a:latin typeface="+mj-lt"/>
        <a:ea typeface="+mj-ea"/>
        <a:cs typeface="+mj-cs"/>
        <a:sym typeface="Roboto Light"/>
      </a:defRPr>
    </a:lvl4pPr>
    <a:lvl5pPr indent="914289" latinLnBrk="0">
      <a:defRPr sz="1200">
        <a:solidFill>
          <a:srgbClr val="3B4057"/>
        </a:solidFill>
        <a:latin typeface="+mj-lt"/>
        <a:ea typeface="+mj-ea"/>
        <a:cs typeface="+mj-cs"/>
        <a:sym typeface="Roboto Light"/>
      </a:defRPr>
    </a:lvl5pPr>
    <a:lvl6pPr indent="1142862" latinLnBrk="0">
      <a:defRPr sz="1200">
        <a:solidFill>
          <a:srgbClr val="3B4057"/>
        </a:solidFill>
        <a:latin typeface="+mj-lt"/>
        <a:ea typeface="+mj-ea"/>
        <a:cs typeface="+mj-cs"/>
        <a:sym typeface="Roboto Light"/>
      </a:defRPr>
    </a:lvl6pPr>
    <a:lvl7pPr indent="1371435" latinLnBrk="0">
      <a:defRPr sz="1200">
        <a:solidFill>
          <a:srgbClr val="3B4057"/>
        </a:solidFill>
        <a:latin typeface="+mj-lt"/>
        <a:ea typeface="+mj-ea"/>
        <a:cs typeface="+mj-cs"/>
        <a:sym typeface="Roboto Light"/>
      </a:defRPr>
    </a:lvl7pPr>
    <a:lvl8pPr indent="1600008" latinLnBrk="0">
      <a:defRPr sz="1200">
        <a:solidFill>
          <a:srgbClr val="3B4057"/>
        </a:solidFill>
        <a:latin typeface="+mj-lt"/>
        <a:ea typeface="+mj-ea"/>
        <a:cs typeface="+mj-cs"/>
        <a:sym typeface="Roboto Light"/>
      </a:defRPr>
    </a:lvl8pPr>
    <a:lvl9pPr indent="1828581" latinLnBrk="0">
      <a:defRPr sz="1200">
        <a:solidFill>
          <a:srgbClr val="3B4057"/>
        </a:solidFill>
        <a:latin typeface="+mj-lt"/>
        <a:ea typeface="+mj-ea"/>
        <a:cs typeface="+mj-cs"/>
        <a:sym typeface="Roboto Light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443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/>
          <a:lstStyle/>
          <a:p>
            <a:fld id="{ED385F87-D3AF-4D46-9F89-6EB7D108DF35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9941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/>
          <a:lstStyle/>
          <a:p>
            <a:fld id="{ED385F87-D3AF-4D46-9F89-6EB7D108DF35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5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99419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/>
          <a:lstStyle/>
          <a:p>
            <a:fld id="{ED385F87-D3AF-4D46-9F89-6EB7D108DF35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6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99419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/>
          <a:lstStyle/>
          <a:p>
            <a:fld id="{ED385F87-D3AF-4D46-9F89-6EB7D108DF35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7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9941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/>
          <a:lstStyle/>
          <a:p>
            <a:fld id="{ED385F87-D3AF-4D46-9F89-6EB7D108DF35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8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9941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id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2"/>
          <p:cNvSpPr>
            <a:spLocks noGrp="1"/>
          </p:cNvSpPr>
          <p:nvPr>
            <p:ph type="pic" idx="13"/>
          </p:nvPr>
        </p:nvSpPr>
        <p:spPr>
          <a:xfrm>
            <a:off x="0" y="1744397"/>
            <a:ext cx="12192000" cy="3319978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7" name="Straight Connector 4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38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-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22426" y="3062557"/>
            <a:ext cx="1828802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6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2575" y="3062557"/>
            <a:ext cx="1828804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6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181600" y="3062557"/>
            <a:ext cx="1828800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69" name="Straight Connector 8"/>
          <p:cNvSpPr/>
          <p:nvPr/>
        </p:nvSpPr>
        <p:spPr>
          <a:xfrm>
            <a:off x="634304" y="1686905"/>
            <a:ext cx="731525" cy="4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170" name="Title Text"/>
          <p:cNvSpPr txBox="1">
            <a:spLocks noGrp="1"/>
          </p:cNvSpPr>
          <p:nvPr>
            <p:ph type="title"/>
          </p:nvPr>
        </p:nvSpPr>
        <p:spPr>
          <a:xfrm>
            <a:off x="527498" y="543915"/>
            <a:ext cx="7384285" cy="115451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7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- 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Straight Connector 7"/>
          <p:cNvSpPr/>
          <p:nvPr/>
        </p:nvSpPr>
        <p:spPr>
          <a:xfrm>
            <a:off x="634304" y="1686905"/>
            <a:ext cx="731525" cy="4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179" name="Title Text"/>
          <p:cNvSpPr txBox="1">
            <a:spLocks noGrp="1"/>
          </p:cNvSpPr>
          <p:nvPr>
            <p:ph type="title"/>
          </p:nvPr>
        </p:nvSpPr>
        <p:spPr>
          <a:xfrm>
            <a:off x="527498" y="543915"/>
            <a:ext cx="7384285" cy="115451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8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22426" y="3062557"/>
            <a:ext cx="1828802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8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2575" y="3062557"/>
            <a:ext cx="1828804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8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665811" y="3062557"/>
            <a:ext cx="1828804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8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09200" y="3062557"/>
            <a:ext cx="1828801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8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ne - Bullet Im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111746" y="2061735"/>
            <a:ext cx="2496312" cy="249631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9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583944" y="2061735"/>
            <a:ext cx="2496316" cy="249631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9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847845" y="2061735"/>
            <a:ext cx="2496312" cy="249631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94" name="Straight Connector 7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195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9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ne - Bullet Img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35436" y="1927180"/>
            <a:ext cx="1828801" cy="18288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0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527771" y="1927180"/>
            <a:ext cx="1828804" cy="18288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0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35436" y="4279589"/>
            <a:ext cx="1828801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06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527771" y="4279589"/>
            <a:ext cx="1828804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07" name="Straight Connector 7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208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0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32879" y="1927180"/>
            <a:ext cx="1828804" cy="18288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10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630324" y="1927180"/>
            <a:ext cx="1828804" cy="18288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3732879" y="4279589"/>
            <a:ext cx="1828804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630324" y="4279589"/>
            <a:ext cx="1828804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iddle - image bt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Picture Placeholder 2"/>
          <p:cNvSpPr>
            <a:spLocks noGrp="1"/>
          </p:cNvSpPr>
          <p:nvPr>
            <p:ph type="pic" idx="13"/>
          </p:nvPr>
        </p:nvSpPr>
        <p:spPr>
          <a:xfrm>
            <a:off x="0" y="3431678"/>
            <a:ext cx="12192000" cy="3426322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21" name="Straight Connector 3"/>
          <p:cNvSpPr/>
          <p:nvPr/>
        </p:nvSpPr>
        <p:spPr>
          <a:xfrm>
            <a:off x="5730244" y="1213928"/>
            <a:ext cx="731524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222" name="Title Text"/>
          <p:cNvSpPr txBox="1">
            <a:spLocks noGrp="1"/>
          </p:cNvSpPr>
          <p:nvPr>
            <p:ph type="title"/>
          </p:nvPr>
        </p:nvSpPr>
        <p:spPr>
          <a:xfrm>
            <a:off x="2139045" y="562783"/>
            <a:ext cx="7913915" cy="584779"/>
          </a:xfrm>
          <a:prstGeom prst="rect">
            <a:avLst/>
          </a:prstGeom>
        </p:spPr>
        <p:txBody>
          <a:bodyPr/>
          <a:lstStyle>
            <a:lvl1pPr algn="ctr"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2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iddle -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111746" y="2061735"/>
            <a:ext cx="2496312" cy="249631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3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583944" y="2061735"/>
            <a:ext cx="2496316" cy="249631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32" name="Straight Connector 5"/>
          <p:cNvSpPr/>
          <p:nvPr/>
        </p:nvSpPr>
        <p:spPr>
          <a:xfrm>
            <a:off x="5730244" y="1213928"/>
            <a:ext cx="731524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233" name="Title Text"/>
          <p:cNvSpPr txBox="1">
            <a:spLocks noGrp="1"/>
          </p:cNvSpPr>
          <p:nvPr>
            <p:ph type="title"/>
          </p:nvPr>
        </p:nvSpPr>
        <p:spPr>
          <a:xfrm>
            <a:off x="2139045" y="562783"/>
            <a:ext cx="7913915" cy="584779"/>
          </a:xfrm>
          <a:prstGeom prst="rect">
            <a:avLst/>
          </a:prstGeom>
        </p:spPr>
        <p:txBody>
          <a:bodyPr/>
          <a:lstStyle>
            <a:lvl1pPr algn="ctr"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3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iddle -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111746" y="2061735"/>
            <a:ext cx="2496312" cy="249631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4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583944" y="2061735"/>
            <a:ext cx="2496316" cy="249631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4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847845" y="2061735"/>
            <a:ext cx="2496312" cy="249631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44" name="Straight Connector 5"/>
          <p:cNvSpPr/>
          <p:nvPr/>
        </p:nvSpPr>
        <p:spPr>
          <a:xfrm>
            <a:off x="5730244" y="1213928"/>
            <a:ext cx="731524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245" name="Title Text"/>
          <p:cNvSpPr txBox="1">
            <a:spLocks noGrp="1"/>
          </p:cNvSpPr>
          <p:nvPr>
            <p:ph type="title"/>
          </p:nvPr>
        </p:nvSpPr>
        <p:spPr>
          <a:xfrm>
            <a:off x="2139045" y="562783"/>
            <a:ext cx="7913915" cy="584779"/>
          </a:xfrm>
          <a:prstGeom prst="rect">
            <a:avLst/>
          </a:prstGeom>
        </p:spPr>
        <p:txBody>
          <a:bodyPr/>
          <a:lstStyle>
            <a:lvl1pPr algn="ctr"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4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Picture Placeholder 2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5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Half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Picture Placeholder 2"/>
          <p:cNvSpPr>
            <a:spLocks noGrp="1"/>
          </p:cNvSpPr>
          <p:nvPr>
            <p:ph type="pic" idx="13"/>
          </p:nvPr>
        </p:nvSpPr>
        <p:spPr>
          <a:xfrm>
            <a:off x="0" y="0"/>
            <a:ext cx="5304312" cy="685800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7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012996" y="6244531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 blan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3048000" y="0"/>
            <a:ext cx="3048000" cy="685800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96" name="Picture Placeholder 2"/>
          <p:cNvSpPr>
            <a:spLocks noGrp="1"/>
          </p:cNvSpPr>
          <p:nvPr>
            <p:ph type="pic" sz="half" idx="14"/>
          </p:nvPr>
        </p:nvSpPr>
        <p:spPr>
          <a:xfrm>
            <a:off x="0" y="0"/>
            <a:ext cx="3048000" cy="685800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97" name="Picture Placeholder 2"/>
          <p:cNvSpPr>
            <a:spLocks noGrp="1"/>
          </p:cNvSpPr>
          <p:nvPr>
            <p:ph type="pic" sz="half" idx="15"/>
          </p:nvPr>
        </p:nvSpPr>
        <p:spPr>
          <a:xfrm>
            <a:off x="9144000" y="0"/>
            <a:ext cx="3048000" cy="685800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98" name="Picture Placeholder 2"/>
          <p:cNvSpPr>
            <a:spLocks noGrp="1"/>
          </p:cNvSpPr>
          <p:nvPr>
            <p:ph type="pic" sz="half" idx="16"/>
          </p:nvPr>
        </p:nvSpPr>
        <p:spPr>
          <a:xfrm>
            <a:off x="6096000" y="0"/>
            <a:ext cx="3048000" cy="685800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29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6796" y="6092131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ne -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Straight Connector 3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47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4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67200" y="2088781"/>
            <a:ext cx="3657600" cy="36576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ke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Picture Placeholder 4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0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08196" y="6244531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861581" y="1709221"/>
            <a:ext cx="2468943" cy="2468942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15" name="Picture Placeholder 2"/>
          <p:cNvSpPr>
            <a:spLocks noGrp="1"/>
          </p:cNvSpPr>
          <p:nvPr>
            <p:ph type="pic" idx="14"/>
          </p:nvPr>
        </p:nvSpPr>
        <p:spPr>
          <a:xfrm>
            <a:off x="0" y="0"/>
            <a:ext cx="12192000" cy="2933208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1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631996" y="6168332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Half Bot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Picture Placeholder 4"/>
          <p:cNvSpPr>
            <a:spLocks noGrp="1"/>
          </p:cNvSpPr>
          <p:nvPr>
            <p:ph type="pic" idx="13"/>
          </p:nvPr>
        </p:nvSpPr>
        <p:spPr>
          <a:xfrm>
            <a:off x="6" y="5"/>
            <a:ext cx="12192001" cy="5515427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84396" y="6244531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rvice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" name="Picture Placeholder 4"/>
          <p:cNvSpPr>
            <a:spLocks noGrp="1"/>
          </p:cNvSpPr>
          <p:nvPr>
            <p:ph type="pic" sz="half" idx="13"/>
          </p:nvPr>
        </p:nvSpPr>
        <p:spPr>
          <a:xfrm>
            <a:off x="3394" y="0"/>
            <a:ext cx="5486402" cy="548640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5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393996" y="6244531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rvices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" name="Picture Placeholder 4"/>
          <p:cNvSpPr>
            <a:spLocks noGrp="1"/>
          </p:cNvSpPr>
          <p:nvPr>
            <p:ph type="pic" sz="half" idx="13"/>
          </p:nvPr>
        </p:nvSpPr>
        <p:spPr>
          <a:xfrm>
            <a:off x="6705601" y="0"/>
            <a:ext cx="5486402" cy="548640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60596" y="6244531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ustom 3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" y="593772"/>
            <a:ext cx="2743200" cy="568828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6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481451" y="593768"/>
            <a:ext cx="2743204" cy="2774602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6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481451" y="3507452"/>
            <a:ext cx="2743204" cy="2774603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241596" y="6396931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am 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058338" y="1752191"/>
            <a:ext cx="1645922" cy="164592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7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487747" y="1787399"/>
            <a:ext cx="1645924" cy="164592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7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868140" y="1790917"/>
            <a:ext cx="1645924" cy="164592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7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677944" y="1790917"/>
            <a:ext cx="1645925" cy="164592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79" name="Straight Connector 13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380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8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631996" y="6244531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am Wok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Straight Connector 3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389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9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14806" y="2109845"/>
            <a:ext cx="2743201" cy="27432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9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089192" y="6168332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am Work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452064" y="3857148"/>
            <a:ext cx="1289308" cy="1289308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39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054252" y="4054972"/>
            <a:ext cx="896112" cy="89611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0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987830" y="4054972"/>
            <a:ext cx="896116" cy="89611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0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525035" y="4051085"/>
            <a:ext cx="896115" cy="89611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0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7309283" y="4051085"/>
            <a:ext cx="896116" cy="89611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0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8774740" y="4051085"/>
            <a:ext cx="896116" cy="89611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0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236310" y="4051085"/>
            <a:ext cx="896116" cy="89611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0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84396" y="6320732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8643523" y="1983084"/>
            <a:ext cx="2054144" cy="205414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13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5068909" y="1983084"/>
            <a:ext cx="2054144" cy="205414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14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494298" y="1983109"/>
            <a:ext cx="2054145" cy="205414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15" name="Straight Connector 3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416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41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165396" y="6244531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ne -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traight Connector 3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57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5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524958" y="2528172"/>
            <a:ext cx="2743201" cy="27432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5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23776" y="2528172"/>
            <a:ext cx="2743204" cy="27432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6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me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5068909" y="1983084"/>
            <a:ext cx="2054144" cy="205414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25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494298" y="1983109"/>
            <a:ext cx="2054145" cy="205414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2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Picture Placeholder 2"/>
          <p:cNvSpPr>
            <a:spLocks noGrp="1"/>
          </p:cNvSpPr>
          <p:nvPr>
            <p:ph type="pic" idx="13"/>
          </p:nvPr>
        </p:nvSpPr>
        <p:spPr>
          <a:xfrm>
            <a:off x="0" y="4"/>
            <a:ext cx="12192000" cy="377635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3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175657" y="1517339"/>
            <a:ext cx="2145285" cy="376068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6796" y="6244531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ock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0" y="680263"/>
            <a:ext cx="12192000" cy="2318437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4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505210" y="2082022"/>
            <a:ext cx="5070767" cy="316688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4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08196" y="6244531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ocku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367890" y="2477535"/>
            <a:ext cx="1917103" cy="219722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5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479596" y="6168332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ocku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300986" y="4215389"/>
            <a:ext cx="2093981" cy="3721612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6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112555" y="3076060"/>
            <a:ext cx="2093981" cy="3721609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6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685087" y="820714"/>
            <a:ext cx="2093981" cy="3721609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6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0487042" y="-311245"/>
            <a:ext cx="2093981" cy="3721609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pic>
        <p:nvPicPr>
          <p:cNvPr id="463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4167" y="2213356"/>
            <a:ext cx="5203863" cy="3360314"/>
          </a:xfrm>
          <a:prstGeom prst="rect">
            <a:avLst/>
          </a:prstGeom>
          <a:ln w="12700">
            <a:miter lim="400000"/>
          </a:ln>
        </p:spPr>
      </p:pic>
      <p:sp>
        <p:nvSpPr>
          <p:cNvPr id="464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7016275" y="1791064"/>
            <a:ext cx="1901956" cy="393192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6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370398" y="6320732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ockup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2" name="Picture 7" descr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8078" y="3098691"/>
            <a:ext cx="4314232" cy="2785849"/>
          </a:xfrm>
          <a:prstGeom prst="rect">
            <a:avLst/>
          </a:prstGeom>
          <a:ln w="12700">
            <a:miter lim="400000"/>
          </a:ln>
        </p:spPr>
      </p:pic>
      <p:sp>
        <p:nvSpPr>
          <p:cNvPr id="47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984331" y="2748591"/>
            <a:ext cx="1576807" cy="325973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7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041102" y="2014740"/>
            <a:ext cx="1576807" cy="3259738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7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903795" y="2014740"/>
            <a:ext cx="1576807" cy="3259738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476" name="Straight Connector 23"/>
          <p:cNvSpPr/>
          <p:nvPr/>
        </p:nvSpPr>
        <p:spPr>
          <a:xfrm>
            <a:off x="634304" y="1686905"/>
            <a:ext cx="731525" cy="4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477" name="Title Text"/>
          <p:cNvSpPr txBox="1">
            <a:spLocks noGrp="1"/>
          </p:cNvSpPr>
          <p:nvPr>
            <p:ph type="title"/>
          </p:nvPr>
        </p:nvSpPr>
        <p:spPr>
          <a:xfrm>
            <a:off x="527498" y="543915"/>
            <a:ext cx="7384285" cy="115451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47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454740" y="6168332"/>
            <a:ext cx="279868" cy="27698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2455164" y="0"/>
            <a:ext cx="7412736" cy="762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3A4056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5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550058" y="6264023"/>
            <a:ext cx="187551" cy="184666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52934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C 20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8074410" y="2510977"/>
            <a:ext cx="3621315" cy="1287917"/>
          </a:xfrm>
        </p:spPr>
        <p:txBody>
          <a:bodyPr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2800" b="1">
                <a:solidFill>
                  <a:srgbClr val="17387C"/>
                </a:solidFill>
                <a:latin typeface="Calibri" panose="020F0502020204030204" pitchFamily="34" charset="0"/>
                <a:cs typeface="STC" panose="01000500000000020006" pitchFamily="2" charset="-78"/>
              </a:defRPr>
            </a:lvl1pPr>
          </a:lstStyle>
          <a:p>
            <a:pPr algn="r"/>
            <a:r>
              <a:rPr lang="en-US" sz="3100" dirty="0">
                <a:solidFill>
                  <a:srgbClr val="5A2781"/>
                </a:solidFill>
                <a:cs typeface="STC" panose="01000500000000020006" pitchFamily="2" charset="-78"/>
              </a:rPr>
              <a:t>Headline goes here in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8074412" y="4027494"/>
            <a:ext cx="3621315" cy="703264"/>
          </a:xfrm>
        </p:spPr>
        <p:txBody>
          <a:bodyPr>
            <a:noAutofit/>
          </a:bodyPr>
          <a:lstStyle>
            <a:lvl1pPr marL="0" indent="0" algn="r">
              <a:buNone/>
              <a:defRPr sz="18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Sub-Headline, 2 lines MAX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8074410" y="5891219"/>
            <a:ext cx="3621315" cy="430456"/>
          </a:xfrm>
        </p:spPr>
        <p:txBody>
          <a:bodyPr>
            <a:noAutofit/>
          </a:bodyPr>
          <a:lstStyle>
            <a:lvl1pPr marL="0" indent="0" algn="r" rtl="0">
              <a:buNone/>
              <a:defRPr sz="18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2 May 2016</a:t>
            </a:r>
          </a:p>
        </p:txBody>
      </p:sp>
      <p:sp>
        <p:nvSpPr>
          <p:cNvPr id="2" name="AutoShape 2" descr="Image result for gear clipart"/>
          <p:cNvSpPr>
            <a:spLocks noChangeAspect="1" noChangeArrowheads="1"/>
          </p:cNvSpPr>
          <p:nvPr userDrawn="1"/>
        </p:nvSpPr>
        <p:spPr bwMode="auto">
          <a:xfrm>
            <a:off x="0" y="-144460"/>
            <a:ext cx="375139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9393" tIns="39696" rIns="79393" bIns="39696" numCol="1" anchor="t" anchorCtr="0" compatLnSpc="1">
            <a:prstTxWarp prst="textNoShape">
              <a:avLst/>
            </a:prstTxWarp>
          </a:bodyPr>
          <a:lstStyle/>
          <a:p>
            <a:pPr defTabSz="914260" hangingPunct="1"/>
            <a:endParaRPr lang="en-US" sz="1500" kern="1200">
              <a:solidFill>
                <a:prstClr val="black"/>
              </a:solidFill>
            </a:endParaRPr>
          </a:p>
        </p:txBody>
      </p:sp>
      <p:pic>
        <p:nvPicPr>
          <p:cNvPr id="18" name="Picture 17"/>
          <p:cNvPicPr>
            <a:picLocks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89" t="17979" r="23111" b="18421"/>
          <a:stretch/>
        </p:blipFill>
        <p:spPr>
          <a:xfrm>
            <a:off x="228600" y="909000"/>
            <a:ext cx="5256000" cy="5040000"/>
          </a:xfrm>
          <a:prstGeom prst="rect">
            <a:avLst/>
          </a:prstGeom>
        </p:spPr>
      </p:pic>
      <p:pic>
        <p:nvPicPr>
          <p:cNvPr id="8" name="Picture 6" descr="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53471" y="655178"/>
            <a:ext cx="701792" cy="57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直接连接符 8"/>
          <p:cNvCxnSpPr/>
          <p:nvPr userDrawn="1"/>
        </p:nvCxnSpPr>
        <p:spPr>
          <a:xfrm>
            <a:off x="10677295" y="583178"/>
            <a:ext cx="0" cy="72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53600" y="548363"/>
            <a:ext cx="747518" cy="789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076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525899" y="466344"/>
            <a:ext cx="11154381" cy="0"/>
          </a:xfrm>
          <a:prstGeom prst="line">
            <a:avLst/>
          </a:prstGeom>
          <a:ln w="57150">
            <a:gradFill>
              <a:gsLst>
                <a:gs pos="17000">
                  <a:schemeClr val="accent1"/>
                </a:gs>
                <a:gs pos="44000">
                  <a:schemeClr val="accent4"/>
                </a:gs>
                <a:gs pos="81000">
                  <a:schemeClr val="accent5"/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525899" y="6430400"/>
            <a:ext cx="11154381" cy="0"/>
          </a:xfrm>
          <a:prstGeom prst="line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1"/>
          <p:cNvSpPr txBox="1"/>
          <p:nvPr userDrawn="1"/>
        </p:nvSpPr>
        <p:spPr>
          <a:xfrm>
            <a:off x="525899" y="6462676"/>
            <a:ext cx="11154381" cy="234056"/>
          </a:xfrm>
          <a:prstGeom prst="rect">
            <a:avLst/>
          </a:prstGeom>
          <a:noFill/>
        </p:spPr>
        <p:txBody>
          <a:bodyPr wrap="square" lIns="79393" tIns="39696" rIns="79393" bIns="39696" rtlCol="0">
            <a:spAutoFit/>
          </a:bodyPr>
          <a:lstStyle/>
          <a:p>
            <a:pPr algn="ctr" defTabSz="914260" hangingPunct="1"/>
            <a:r>
              <a:rPr lang="en-US" sz="1000" kern="1200" dirty="0">
                <a:solidFill>
                  <a:prstClr val="black"/>
                </a:solidFill>
                <a:cs typeface="Calibri" pitchFamily="34" charset="0"/>
              </a:rPr>
              <a:t>	                                                           		</a:t>
            </a:r>
            <a:fld id="{6CC080B9-6273-463A-A0DD-55F9B88CA2E1}" type="slidenum">
              <a:rPr lang="en-US" sz="1000" kern="1200" smtClean="0">
                <a:solidFill>
                  <a:prstClr val="black"/>
                </a:solidFill>
                <a:cs typeface="Calibri" pitchFamily="34" charset="0"/>
              </a:rPr>
              <a:pPr algn="ctr" defTabSz="914260" hangingPunct="1"/>
              <a:t>‹#›</a:t>
            </a:fld>
            <a:endParaRPr lang="en-US" sz="1000" kern="1200" dirty="0">
              <a:solidFill>
                <a:prstClr val="black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008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 userDrawn="1">
          <p15:clr>
            <a:srgbClr val="FBAE40"/>
          </p15:clr>
        </p15:guide>
        <p15:guide id="2" pos="432" userDrawn="1">
          <p15:clr>
            <a:srgbClr val="FBAE40"/>
          </p15:clr>
        </p15:guide>
        <p15:guide id="3" pos="7248" userDrawn="1">
          <p15:clr>
            <a:srgbClr val="FBAE40"/>
          </p15:clr>
        </p15:guide>
        <p15:guide id="4" orient="horz" pos="1056" userDrawn="1">
          <p15:clr>
            <a:srgbClr val="FBAE40"/>
          </p15:clr>
        </p15:guide>
        <p15:guide id="5" orient="horz" pos="816" userDrawn="1">
          <p15:clr>
            <a:srgbClr val="FBAE40"/>
          </p15:clr>
        </p15:guide>
        <p15:guide id="6" orient="horz" pos="384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zh-CN">
                <a:solidFill>
                  <a:prstClr val="black">
                    <a:tint val="75000"/>
                  </a:prstClr>
                </a:solidFill>
              </a:rPr>
              <a:t>Page </a:t>
            </a:r>
            <a:fld id="{8A723D06-67D0-48ED-9F0A-C69815A0CFAA}" type="slidenum">
              <a:rPr lang="de-DE" altLang="zh-CN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altLang="zh-C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Title 13"/>
          <p:cNvSpPr>
            <a:spLocks noGrp="1" noChangeArrowheads="1"/>
          </p:cNvSpPr>
          <p:nvPr>
            <p:ph type="title"/>
          </p:nvPr>
        </p:nvSpPr>
        <p:spPr bwMode="auto">
          <a:xfrm>
            <a:off x="624818" y="116637"/>
            <a:ext cx="10870377" cy="87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112" tIns="40056" rIns="80112" bIns="4005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8" name="Rectangle 68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624822" y="1268762"/>
            <a:ext cx="10860707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126" tIns="40063" rIns="80126" bIns="40063" numCol="1" anchor="t" anchorCtr="0" compatLnSpc="1">
            <a:prstTxWarp prst="textNoShape">
              <a:avLst/>
            </a:prstTxWarp>
          </a:bodyPr>
          <a:lstStyle>
            <a:lvl1pPr marL="299850" marR="0" indent="-299850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SzPct val="60000"/>
              <a:buFont typeface="Wingdings" pitchFamily="2" charset="2"/>
              <a:buChar char="l"/>
              <a:tabLst/>
              <a:defRPr lang="zh-CN" altLang="en-US" sz="2400" b="1" dirty="0" smtClean="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  <a:lvl2pPr marL="652057" marR="0" indent="-250669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50000"/>
              <a:buFont typeface="Wingdings" pitchFamily="2" charset="2"/>
              <a:buChar char="p"/>
              <a:tabLst/>
              <a:defRPr lang="zh-CN" altLang="en-US" sz="2400" b="1" dirty="0" smtClean="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2pPr>
            <a:lvl3pPr marL="1002674" marR="0" indent="-201488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Pct val="50000"/>
              <a:buFont typeface="Wingdings" pitchFamily="2" charset="2"/>
              <a:buChar char="n"/>
              <a:tabLst/>
              <a:defRPr lang="zh-CN" altLang="en-US" sz="2400" b="1" dirty="0" smtClean="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3pPr>
            <a:lvl4pPr marL="1400890" marR="0" indent="-199901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lang="zh-CN" altLang="en-US" sz="2400" b="1" dirty="0" smtClean="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4pPr>
            <a:lvl5pPr marL="1802275" marR="0" indent="-201488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FrutigerNext LT Medium" pitchFamily="34" charset="0"/>
              <a:buChar char="~"/>
              <a:tabLst/>
              <a:defRPr lang="zh-CN" altLang="en-US" sz="2400" b="1" dirty="0" smtClean="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5pPr>
          </a:lstStyle>
          <a:p>
            <a:pPr marL="299850" marR="0" lvl="0" indent="-299850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SzPct val="60000"/>
              <a:buFont typeface="Wingdings" pitchFamily="2" charset="2"/>
              <a:buChar char="l"/>
              <a:tabLst/>
              <a:defRPr/>
            </a:pP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单击此处编辑母版文本样式</a:t>
            </a:r>
          </a:p>
          <a:p>
            <a:pPr marL="652057" marR="0" lvl="1" indent="-250669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50000"/>
              <a:buFont typeface="Wingdings" pitchFamily="2" charset="2"/>
              <a:buChar char="p"/>
              <a:tabLst/>
              <a:defRPr/>
            </a:pPr>
            <a:r>
              <a:rPr kumimoji="0" lang="zh-CN" altLang="en-US" sz="2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第二级</a:t>
            </a:r>
          </a:p>
          <a:p>
            <a:pPr marL="1002674" marR="0" lvl="2" indent="-201488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Pct val="50000"/>
              <a:buFont typeface="Wingdings" pitchFamily="2" charset="2"/>
              <a:buChar char="n"/>
              <a:tabLst/>
              <a:defRPr/>
            </a:pPr>
            <a:r>
              <a:rPr kumimoji="0" lang="zh-CN" altLang="en-US" sz="1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第三级</a:t>
            </a:r>
          </a:p>
          <a:p>
            <a:pPr marL="1400890" marR="0" lvl="3" indent="-199901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zh-CN" altLang="en-US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第四级</a:t>
            </a:r>
          </a:p>
          <a:p>
            <a:pPr marL="1802275" marR="0" lvl="4" indent="-201488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FrutigerNext LT Medium" pitchFamily="34" charset="0"/>
              <a:buChar char="~"/>
              <a:tabLst/>
              <a:defRPr/>
            </a:pP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第五级</a:t>
            </a:r>
          </a:p>
          <a:p>
            <a:pPr lvl="4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36829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one -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traight Connector 3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68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6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22426" y="3062557"/>
            <a:ext cx="1828802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7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2575" y="3062557"/>
            <a:ext cx="1828804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7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181600" y="3062557"/>
            <a:ext cx="1828800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7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lIns="91436" tIns="45719" rIns="91436" bIns="45719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zh-CN">
                <a:solidFill>
                  <a:prstClr val="black">
                    <a:tint val="75000"/>
                  </a:prstClr>
                </a:solidFill>
              </a:rPr>
              <a:t>Page </a:t>
            </a:r>
            <a:fld id="{B00E5015-3730-4A86-9B3B-C91536793F85}" type="slidenum">
              <a:rPr lang="de-DE" altLang="zh-CN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altLang="zh-C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8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624822" y="1268762"/>
            <a:ext cx="10860707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126" tIns="40063" rIns="80126" bIns="40063" numCol="1" anchor="t" anchorCtr="0" compatLnSpc="1">
            <a:prstTxWarp prst="textNoShape">
              <a:avLst/>
            </a:prstTxWarp>
          </a:bodyPr>
          <a:lstStyle>
            <a:lvl1pPr marL="299850" marR="0" indent="-299850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SzPct val="60000"/>
              <a:buFont typeface="Wingdings" pitchFamily="2" charset="2"/>
              <a:buChar char="l"/>
              <a:tabLst/>
              <a:defRPr lang="zh-CN" altLang="en-US" sz="2400" b="1" dirty="0" smtClean="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  <a:lvl2pPr marL="652057" marR="0" indent="-250669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50000"/>
              <a:buFont typeface="Wingdings" pitchFamily="2" charset="2"/>
              <a:buChar char="p"/>
              <a:tabLst/>
              <a:defRPr lang="zh-CN" altLang="en-US" sz="2400" b="1" dirty="0" smtClean="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2pPr>
            <a:lvl3pPr marL="1002674" marR="0" indent="-201488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Pct val="50000"/>
              <a:buFont typeface="Wingdings" pitchFamily="2" charset="2"/>
              <a:buChar char="n"/>
              <a:tabLst/>
              <a:defRPr lang="zh-CN" altLang="en-US" sz="2400" b="1" dirty="0" smtClean="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3pPr>
            <a:lvl4pPr marL="1400890" marR="0" indent="-199901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lang="zh-CN" altLang="en-US" sz="2400" b="1" dirty="0" smtClean="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4pPr>
            <a:lvl5pPr marL="1802275" marR="0" indent="-201488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FrutigerNext LT Medium" pitchFamily="34" charset="0"/>
              <a:buChar char="~"/>
              <a:tabLst/>
              <a:defRPr lang="zh-CN" altLang="en-US" sz="2400" b="1" dirty="0" smtClean="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5pPr>
          </a:lstStyle>
          <a:p>
            <a:pPr marL="299850" marR="0" lvl="0" indent="-299850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SzPct val="60000"/>
              <a:buFont typeface="Wingdings" pitchFamily="2" charset="2"/>
              <a:buChar char="l"/>
              <a:tabLst/>
              <a:defRPr/>
            </a:pP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单击此处编辑母版文本样式</a:t>
            </a:r>
          </a:p>
          <a:p>
            <a:pPr marL="652057" marR="0" lvl="1" indent="-250669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50000"/>
              <a:buFont typeface="Wingdings" pitchFamily="2" charset="2"/>
              <a:buChar char="p"/>
              <a:tabLst/>
              <a:defRPr/>
            </a:pPr>
            <a:r>
              <a:rPr kumimoji="0" lang="zh-CN" altLang="en-US" sz="2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第二级</a:t>
            </a:r>
          </a:p>
          <a:p>
            <a:pPr marL="1002674" marR="0" lvl="2" indent="-201488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Pct val="50000"/>
              <a:buFont typeface="Wingdings" pitchFamily="2" charset="2"/>
              <a:buChar char="n"/>
              <a:tabLst/>
              <a:defRPr/>
            </a:pPr>
            <a:r>
              <a:rPr kumimoji="0" lang="zh-CN" altLang="en-US" sz="1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第三级</a:t>
            </a:r>
          </a:p>
          <a:p>
            <a:pPr marL="1400890" marR="0" lvl="3" indent="-199901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zh-CN" altLang="en-US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第四级</a:t>
            </a:r>
          </a:p>
          <a:p>
            <a:pPr marL="1802275" marR="0" lvl="4" indent="-201488" algn="l" defTabSz="801190" rtl="0" eaLnBrk="0" fontAlgn="base" latinLnBrk="0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FrutigerNext LT Medium" pitchFamily="34" charset="0"/>
              <a:buChar char="~"/>
              <a:tabLst/>
              <a:defRPr/>
            </a:pP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第五级</a:t>
            </a:r>
          </a:p>
          <a:p>
            <a:pPr lvl="4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998843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lIns="91436" tIns="45719" rIns="91436" bIns="45719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zh-CN">
                <a:solidFill>
                  <a:srgbClr val="000000"/>
                </a:solidFill>
              </a:rPr>
              <a:t>Page </a:t>
            </a:r>
            <a:fld id="{57A878DD-29EC-4E7E-A7D6-D738AF23B3B6}" type="slidenum">
              <a:rPr lang="de-DE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3696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  <a:prstGeom prst="rect">
            <a:avLst/>
          </a:prstGeom>
        </p:spPr>
        <p:txBody>
          <a:bodyPr lIns="61424" tIns="30712" rIns="61424" bIns="3071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lIns="61424" tIns="30712" rIns="61424" bIns="3071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4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4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8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2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68E5C5-19F0-4A52-92AA-31A3933022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381" y="6355958"/>
            <a:ext cx="2845245" cy="365125"/>
          </a:xfrm>
          <a:prstGeom prst="rect">
            <a:avLst/>
          </a:prstGeom>
        </p:spPr>
        <p:txBody>
          <a:bodyPr vert="horz" wrap="square" lIns="61424" tIns="30712" rIns="61424" bIns="30712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543855" fontAlgn="base">
              <a:spcBef>
                <a:spcPct val="0"/>
              </a:spcBef>
              <a:spcAft>
                <a:spcPct val="0"/>
              </a:spcAft>
              <a:defRPr/>
            </a:pPr>
            <a:fld id="{65178220-0E6B-4F51-BCC8-735092D21B48}" type="datetimeFigureOut">
              <a:rPr lang="en-US" altLang="en-US" sz="2200" smtClean="0">
                <a:solidFill>
                  <a:prstClr val="black"/>
                </a:solidFill>
                <a:ea typeface="MS PGothic" pitchFamily="34" charset="-128"/>
              </a:rPr>
              <a:pPr defTabSz="543855" fontAlgn="base">
                <a:spcBef>
                  <a:spcPct val="0"/>
                </a:spcBef>
                <a:spcAft>
                  <a:spcPct val="0"/>
                </a:spcAft>
                <a:defRPr/>
              </a:pPr>
              <a:t>2/15/2021</a:t>
            </a:fld>
            <a:endParaRPr lang="en-US" altLang="en-US" sz="2200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65522-C739-4DCF-9E1B-5A144570E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381" y="6355958"/>
            <a:ext cx="3861245" cy="365125"/>
          </a:xfrm>
          <a:prstGeom prst="rect">
            <a:avLst/>
          </a:prstGeom>
        </p:spPr>
        <p:txBody>
          <a:bodyPr lIns="61424" tIns="30712" rIns="61424" bIns="30712"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defTabSz="54385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7889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F57A-27BB-4BB5-84DA-9373283FA74E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A117D2-61C8-4DFE-A442-64E41235F09B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13399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F57A-27BB-4BB5-84DA-9373283FA74E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A117D2-61C8-4DFE-A442-64E41235F09B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8851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F57A-27BB-4BB5-84DA-9373283FA74E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A117D2-61C8-4DFE-A442-64E41235F09B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4253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F57A-27BB-4BB5-84DA-9373283FA74E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A117D2-61C8-4DFE-A442-64E41235F09B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5982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F57A-27BB-4BB5-84DA-9373283FA74E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A117D2-61C8-4DFE-A442-64E41235F09B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078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F57A-27BB-4BB5-84DA-9373283FA74E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A117D2-61C8-4DFE-A442-64E41235F09B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8509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F57A-27BB-4BB5-84DA-9373283FA74E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A117D2-61C8-4DFE-A442-64E41235F09B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109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ne - 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traight Connector 3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80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8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22426" y="3062557"/>
            <a:ext cx="1828802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8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2575" y="3062557"/>
            <a:ext cx="1828804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8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665811" y="3062557"/>
            <a:ext cx="1828804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8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09200" y="3062557"/>
            <a:ext cx="1828801" cy="18288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8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F57A-27BB-4BB5-84DA-9373283FA74E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A117D2-61C8-4DFE-A442-64E41235F09B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1692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F57A-27BB-4BB5-84DA-9373283FA74E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A117D2-61C8-4DFE-A442-64E41235F09B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8737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F57A-27BB-4BB5-84DA-9373283FA74E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A117D2-61C8-4DFE-A442-64E41235F09B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0156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F57A-27BB-4BB5-84DA-9373283FA74E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A117D2-61C8-4DFE-A442-64E41235F09B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6139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C 20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8074409" y="2510976"/>
            <a:ext cx="3621315" cy="1287917"/>
          </a:xfrm>
        </p:spPr>
        <p:txBody>
          <a:bodyPr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2779" b="1">
                <a:solidFill>
                  <a:srgbClr val="17387C"/>
                </a:solidFill>
                <a:latin typeface="Calibri" panose="020F0502020204030204" pitchFamily="34" charset="0"/>
                <a:cs typeface="STC" panose="01000500000000020006" pitchFamily="2" charset="-78"/>
              </a:defRPr>
            </a:lvl1pPr>
          </a:lstStyle>
          <a:p>
            <a:pPr algn="r"/>
            <a:r>
              <a:rPr lang="en-US" sz="3126" dirty="0">
                <a:solidFill>
                  <a:srgbClr val="5A2781"/>
                </a:solidFill>
                <a:cs typeface="STC" panose="01000500000000020006" pitchFamily="2" charset="-78"/>
              </a:rPr>
              <a:t>Headline goes here in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8074412" y="4027494"/>
            <a:ext cx="3621315" cy="703263"/>
          </a:xfrm>
        </p:spPr>
        <p:txBody>
          <a:bodyPr>
            <a:noAutofit/>
          </a:bodyPr>
          <a:lstStyle>
            <a:lvl1pPr marL="0" indent="0" algn="r">
              <a:buNone/>
              <a:defRPr sz="1737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Sub-Headline, 2 lines MAX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8074409" y="5891220"/>
            <a:ext cx="3621315" cy="430455"/>
          </a:xfrm>
        </p:spPr>
        <p:txBody>
          <a:bodyPr>
            <a:noAutofit/>
          </a:bodyPr>
          <a:lstStyle>
            <a:lvl1pPr marL="0" indent="0" algn="r" rtl="0">
              <a:buNone/>
              <a:defRPr sz="1737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2 May 2016</a:t>
            </a:r>
          </a:p>
        </p:txBody>
      </p:sp>
      <p:sp>
        <p:nvSpPr>
          <p:cNvPr id="2" name="AutoShape 2" descr="Image result for gear clipart"/>
          <p:cNvSpPr>
            <a:spLocks noChangeAspect="1" noChangeArrowheads="1"/>
          </p:cNvSpPr>
          <p:nvPr userDrawn="1"/>
        </p:nvSpPr>
        <p:spPr bwMode="auto">
          <a:xfrm>
            <a:off x="1" y="-144461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9396" tIns="39698" rIns="79396" bIns="39698" numCol="1" anchor="t" anchorCtr="0" compatLnSpc="1">
            <a:prstTxWarp prst="textNoShape">
              <a:avLst/>
            </a:prstTxWarp>
          </a:bodyPr>
          <a:lstStyle/>
          <a:p>
            <a:pPr defTabSz="457200" hangingPunct="1"/>
            <a:endParaRPr lang="en-US" sz="1563" kern="12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89" t="17979" r="23111" b="18421"/>
          <a:stretch/>
        </p:blipFill>
        <p:spPr>
          <a:xfrm>
            <a:off x="228600" y="909000"/>
            <a:ext cx="5256000" cy="5040000"/>
          </a:xfrm>
          <a:prstGeom prst="rect">
            <a:avLst/>
          </a:prstGeom>
        </p:spPr>
      </p:pic>
      <p:pic>
        <p:nvPicPr>
          <p:cNvPr id="8" name="Picture 6" descr="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53470" y="655178"/>
            <a:ext cx="701792" cy="57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直接连接符 8"/>
          <p:cNvCxnSpPr/>
          <p:nvPr userDrawn="1"/>
        </p:nvCxnSpPr>
        <p:spPr>
          <a:xfrm>
            <a:off x="10677295" y="583178"/>
            <a:ext cx="0" cy="72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53600" y="548363"/>
            <a:ext cx="747518" cy="789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12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525898" y="466344"/>
            <a:ext cx="11154381" cy="0"/>
          </a:xfrm>
          <a:prstGeom prst="line">
            <a:avLst/>
          </a:prstGeom>
          <a:ln w="57150">
            <a:gradFill>
              <a:gsLst>
                <a:gs pos="17000">
                  <a:schemeClr val="accent1"/>
                </a:gs>
                <a:gs pos="44000">
                  <a:schemeClr val="accent4"/>
                </a:gs>
                <a:gs pos="81000">
                  <a:schemeClr val="accent5"/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525898" y="6430400"/>
            <a:ext cx="11154381" cy="0"/>
          </a:xfrm>
          <a:prstGeom prst="line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1"/>
          <p:cNvSpPr txBox="1"/>
          <p:nvPr userDrawn="1"/>
        </p:nvSpPr>
        <p:spPr>
          <a:xfrm>
            <a:off x="525898" y="6462676"/>
            <a:ext cx="11154381" cy="240536"/>
          </a:xfrm>
          <a:prstGeom prst="rect">
            <a:avLst/>
          </a:prstGeom>
          <a:noFill/>
        </p:spPr>
        <p:txBody>
          <a:bodyPr wrap="square" lIns="79396" tIns="39698" rIns="79396" bIns="39698" rtlCol="0">
            <a:spAutoFit/>
          </a:bodyPr>
          <a:lstStyle/>
          <a:p>
            <a:pPr algn="ctr" defTabSz="457200" hangingPunct="1"/>
            <a:r>
              <a:rPr lang="en-US" sz="1042" kern="1200" dirty="0">
                <a:solidFill>
                  <a:prstClr val="white"/>
                </a:solidFill>
                <a:cs typeface="Calibri" pitchFamily="34" charset="0"/>
              </a:rPr>
              <a:t>	                                                           		</a:t>
            </a:r>
            <a:fld id="{6CC080B9-6273-463A-A0DD-55F9B88CA2E1}" type="slidenum">
              <a:rPr lang="en-US" sz="1042" kern="1200" smtClean="0">
                <a:solidFill>
                  <a:prstClr val="white"/>
                </a:solidFill>
                <a:cs typeface="Calibri" pitchFamily="34" charset="0"/>
              </a:rPr>
              <a:pPr algn="ctr" defTabSz="457200" hangingPunct="1"/>
              <a:t>‹#›</a:t>
            </a:fld>
            <a:endParaRPr lang="en-US" sz="1042" kern="1200" dirty="0">
              <a:solidFill>
                <a:prstClr val="white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980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1056">
          <p15:clr>
            <a:srgbClr val="FBAE40"/>
          </p15:clr>
        </p15:guide>
        <p15:guide id="5" orient="horz" pos="816">
          <p15:clr>
            <a:srgbClr val="FBAE40"/>
          </p15:clr>
        </p15:guide>
        <p15:guide id="6" orient="horz" pos="38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4539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1C1C1A"/>
                </a:solidFill>
                <a:latin typeface="Arial"/>
                <a:cs typeface="Arial"/>
              </a:defRPr>
            </a:lvl1pPr>
          </a:lstStyle>
          <a:p>
            <a:pPr marL="26670">
              <a:spcBef>
                <a:spcPts val="20"/>
              </a:spcBef>
            </a:pPr>
            <a:fld id="{81D60167-4931-47E6-BA6A-407CBD079E47}" type="slidenum">
              <a:rPr spc="-5" dirty="0"/>
              <a:pPr marL="26670">
                <a:spcBef>
                  <a:spcPts val="20"/>
                </a:spcBef>
              </a:pPr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36818401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0" i="0">
                <a:solidFill>
                  <a:srgbClr val="1C1C1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1C1C1A"/>
                </a:solidFill>
                <a:latin typeface="Arial"/>
                <a:cs typeface="Arial"/>
              </a:defRPr>
            </a:lvl1pPr>
          </a:lstStyle>
          <a:p>
            <a:pPr marL="26670">
              <a:spcBef>
                <a:spcPts val="20"/>
              </a:spcBef>
            </a:pPr>
            <a:fld id="{81D60167-4931-47E6-BA6A-407CBD079E47}" type="slidenum">
              <a:rPr spc="-5" dirty="0"/>
              <a:pPr marL="26670">
                <a:spcBef>
                  <a:spcPts val="20"/>
                </a:spcBef>
              </a:pPr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15743886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0196946" y="5537499"/>
            <a:ext cx="1267228" cy="19901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7647709" y="1779046"/>
            <a:ext cx="3883121" cy="562535"/>
          </a:xfrm>
          <a:custGeom>
            <a:avLst/>
            <a:gdLst/>
            <a:ahLst/>
            <a:cxnLst/>
            <a:rect l="l" t="t" r="r" b="b"/>
            <a:pathLst>
              <a:path w="3203575" h="637539">
                <a:moveTo>
                  <a:pt x="3096768" y="637032"/>
                </a:moveTo>
                <a:lnTo>
                  <a:pt x="0" y="637032"/>
                </a:lnTo>
                <a:lnTo>
                  <a:pt x="0" y="0"/>
                </a:lnTo>
                <a:lnTo>
                  <a:pt x="3096768" y="0"/>
                </a:lnTo>
                <a:lnTo>
                  <a:pt x="3138511" y="8310"/>
                </a:lnTo>
                <a:lnTo>
                  <a:pt x="3172396" y="31051"/>
                </a:lnTo>
                <a:lnTo>
                  <a:pt x="3195137" y="64936"/>
                </a:lnTo>
                <a:lnTo>
                  <a:pt x="3203448" y="106680"/>
                </a:lnTo>
                <a:lnTo>
                  <a:pt x="3203448" y="531876"/>
                </a:lnTo>
                <a:lnTo>
                  <a:pt x="3195137" y="572738"/>
                </a:lnTo>
                <a:lnTo>
                  <a:pt x="3172396" y="606171"/>
                </a:lnTo>
                <a:lnTo>
                  <a:pt x="3138511" y="628745"/>
                </a:lnTo>
                <a:lnTo>
                  <a:pt x="3096768" y="637032"/>
                </a:lnTo>
                <a:close/>
              </a:path>
            </a:pathLst>
          </a:custGeom>
          <a:solidFill>
            <a:srgbClr val="C1C1C1">
              <a:alpha val="89843"/>
            </a:srgbClr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8" name="bk object 18"/>
          <p:cNvSpPr/>
          <p:nvPr/>
        </p:nvSpPr>
        <p:spPr>
          <a:xfrm>
            <a:off x="7642167" y="1775012"/>
            <a:ext cx="3894667" cy="571500"/>
          </a:xfrm>
          <a:custGeom>
            <a:avLst/>
            <a:gdLst/>
            <a:ahLst/>
            <a:cxnLst/>
            <a:rect l="l" t="t" r="r" b="b"/>
            <a:pathLst>
              <a:path w="3213100" h="647700">
                <a:moveTo>
                  <a:pt x="3101340" y="647700"/>
                </a:moveTo>
                <a:lnTo>
                  <a:pt x="0" y="647700"/>
                </a:lnTo>
                <a:lnTo>
                  <a:pt x="0" y="0"/>
                </a:lnTo>
                <a:lnTo>
                  <a:pt x="3113532" y="0"/>
                </a:lnTo>
                <a:lnTo>
                  <a:pt x="3124200" y="1524"/>
                </a:lnTo>
                <a:lnTo>
                  <a:pt x="3134868" y="4572"/>
                </a:lnTo>
                <a:lnTo>
                  <a:pt x="9143" y="4572"/>
                </a:lnTo>
                <a:lnTo>
                  <a:pt x="4572" y="10668"/>
                </a:lnTo>
                <a:lnTo>
                  <a:pt x="9143" y="10668"/>
                </a:lnTo>
                <a:lnTo>
                  <a:pt x="9143" y="637032"/>
                </a:lnTo>
                <a:lnTo>
                  <a:pt x="4572" y="637032"/>
                </a:lnTo>
                <a:lnTo>
                  <a:pt x="9143" y="641604"/>
                </a:lnTo>
                <a:lnTo>
                  <a:pt x="3138424" y="641604"/>
                </a:lnTo>
                <a:lnTo>
                  <a:pt x="3134868" y="643128"/>
                </a:lnTo>
                <a:lnTo>
                  <a:pt x="3113532" y="646176"/>
                </a:lnTo>
                <a:lnTo>
                  <a:pt x="3101340" y="647700"/>
                </a:lnTo>
                <a:close/>
              </a:path>
              <a:path w="3213100" h="647700">
                <a:moveTo>
                  <a:pt x="9143" y="10668"/>
                </a:moveTo>
                <a:lnTo>
                  <a:pt x="4572" y="10668"/>
                </a:lnTo>
                <a:lnTo>
                  <a:pt x="9143" y="4572"/>
                </a:lnTo>
                <a:lnTo>
                  <a:pt x="9143" y="10668"/>
                </a:lnTo>
                <a:close/>
              </a:path>
              <a:path w="3213100" h="647700">
                <a:moveTo>
                  <a:pt x="3189732" y="64008"/>
                </a:moveTo>
                <a:lnTo>
                  <a:pt x="3157728" y="27432"/>
                </a:lnTo>
                <a:lnTo>
                  <a:pt x="3121152" y="12192"/>
                </a:lnTo>
                <a:lnTo>
                  <a:pt x="3122676" y="12192"/>
                </a:lnTo>
                <a:lnTo>
                  <a:pt x="3112008" y="10668"/>
                </a:lnTo>
                <a:lnTo>
                  <a:pt x="9143" y="10668"/>
                </a:lnTo>
                <a:lnTo>
                  <a:pt x="9143" y="4572"/>
                </a:lnTo>
                <a:lnTo>
                  <a:pt x="3134868" y="4572"/>
                </a:lnTo>
                <a:lnTo>
                  <a:pt x="3145536" y="9144"/>
                </a:lnTo>
                <a:lnTo>
                  <a:pt x="3163824" y="18288"/>
                </a:lnTo>
                <a:lnTo>
                  <a:pt x="3172968" y="25908"/>
                </a:lnTo>
                <a:lnTo>
                  <a:pt x="3180588" y="32004"/>
                </a:lnTo>
                <a:lnTo>
                  <a:pt x="3188208" y="39624"/>
                </a:lnTo>
                <a:lnTo>
                  <a:pt x="3194304" y="48768"/>
                </a:lnTo>
                <a:lnTo>
                  <a:pt x="3198876" y="57912"/>
                </a:lnTo>
                <a:lnTo>
                  <a:pt x="3201488" y="62484"/>
                </a:lnTo>
                <a:lnTo>
                  <a:pt x="3189732" y="62484"/>
                </a:lnTo>
                <a:lnTo>
                  <a:pt x="3189732" y="64008"/>
                </a:lnTo>
                <a:close/>
              </a:path>
              <a:path w="3213100" h="647700">
                <a:moveTo>
                  <a:pt x="3200400" y="91440"/>
                </a:moveTo>
                <a:lnTo>
                  <a:pt x="3197352" y="80772"/>
                </a:lnTo>
                <a:lnTo>
                  <a:pt x="3198876" y="80772"/>
                </a:lnTo>
                <a:lnTo>
                  <a:pt x="3189732" y="62484"/>
                </a:lnTo>
                <a:lnTo>
                  <a:pt x="3201488" y="62484"/>
                </a:lnTo>
                <a:lnTo>
                  <a:pt x="3204972" y="68580"/>
                </a:lnTo>
                <a:lnTo>
                  <a:pt x="3208020" y="77724"/>
                </a:lnTo>
                <a:lnTo>
                  <a:pt x="3211068" y="88392"/>
                </a:lnTo>
                <a:lnTo>
                  <a:pt x="3211285" y="89916"/>
                </a:lnTo>
                <a:lnTo>
                  <a:pt x="3200400" y="89916"/>
                </a:lnTo>
                <a:lnTo>
                  <a:pt x="3200400" y="91440"/>
                </a:lnTo>
                <a:close/>
              </a:path>
              <a:path w="3213100" h="647700">
                <a:moveTo>
                  <a:pt x="3212592" y="547115"/>
                </a:moveTo>
                <a:lnTo>
                  <a:pt x="3201924" y="547115"/>
                </a:lnTo>
                <a:lnTo>
                  <a:pt x="3201924" y="100584"/>
                </a:lnTo>
                <a:lnTo>
                  <a:pt x="3200400" y="89916"/>
                </a:lnTo>
                <a:lnTo>
                  <a:pt x="3211285" y="89916"/>
                </a:lnTo>
                <a:lnTo>
                  <a:pt x="3212592" y="99060"/>
                </a:lnTo>
                <a:lnTo>
                  <a:pt x="3212592" y="547115"/>
                </a:lnTo>
                <a:close/>
              </a:path>
              <a:path w="3213100" h="647700">
                <a:moveTo>
                  <a:pt x="3197352" y="566928"/>
                </a:moveTo>
                <a:lnTo>
                  <a:pt x="3200400" y="556260"/>
                </a:lnTo>
                <a:lnTo>
                  <a:pt x="3201924" y="545591"/>
                </a:lnTo>
                <a:lnTo>
                  <a:pt x="3201924" y="547115"/>
                </a:lnTo>
                <a:lnTo>
                  <a:pt x="3212592" y="547115"/>
                </a:lnTo>
                <a:lnTo>
                  <a:pt x="3211068" y="557784"/>
                </a:lnTo>
                <a:lnTo>
                  <a:pt x="3208890" y="565404"/>
                </a:lnTo>
                <a:lnTo>
                  <a:pt x="3198876" y="565404"/>
                </a:lnTo>
                <a:lnTo>
                  <a:pt x="3197352" y="566928"/>
                </a:lnTo>
                <a:close/>
              </a:path>
              <a:path w="3213100" h="647700">
                <a:moveTo>
                  <a:pt x="3205842" y="576072"/>
                </a:moveTo>
                <a:lnTo>
                  <a:pt x="3194304" y="576072"/>
                </a:lnTo>
                <a:lnTo>
                  <a:pt x="3198876" y="565404"/>
                </a:lnTo>
                <a:lnTo>
                  <a:pt x="3208890" y="565404"/>
                </a:lnTo>
                <a:lnTo>
                  <a:pt x="3205842" y="576072"/>
                </a:lnTo>
                <a:close/>
              </a:path>
              <a:path w="3213100" h="647700">
                <a:moveTo>
                  <a:pt x="3186684" y="608076"/>
                </a:moveTo>
                <a:lnTo>
                  <a:pt x="3172968" y="608076"/>
                </a:lnTo>
                <a:lnTo>
                  <a:pt x="3185160" y="592836"/>
                </a:lnTo>
                <a:lnTo>
                  <a:pt x="3194304" y="574548"/>
                </a:lnTo>
                <a:lnTo>
                  <a:pt x="3194304" y="576072"/>
                </a:lnTo>
                <a:lnTo>
                  <a:pt x="3205842" y="576072"/>
                </a:lnTo>
                <a:lnTo>
                  <a:pt x="3204972" y="579120"/>
                </a:lnTo>
                <a:lnTo>
                  <a:pt x="3198876" y="589788"/>
                </a:lnTo>
                <a:lnTo>
                  <a:pt x="3194304" y="598932"/>
                </a:lnTo>
                <a:lnTo>
                  <a:pt x="3188208" y="606552"/>
                </a:lnTo>
                <a:lnTo>
                  <a:pt x="3186684" y="608076"/>
                </a:lnTo>
                <a:close/>
              </a:path>
              <a:path w="3213100" h="647700">
                <a:moveTo>
                  <a:pt x="3138424" y="641604"/>
                </a:moveTo>
                <a:lnTo>
                  <a:pt x="9143" y="641604"/>
                </a:lnTo>
                <a:lnTo>
                  <a:pt x="9143" y="637032"/>
                </a:lnTo>
                <a:lnTo>
                  <a:pt x="3112008" y="637032"/>
                </a:lnTo>
                <a:lnTo>
                  <a:pt x="3122676" y="635508"/>
                </a:lnTo>
                <a:lnTo>
                  <a:pt x="3121152" y="635508"/>
                </a:lnTo>
                <a:lnTo>
                  <a:pt x="3131820" y="632460"/>
                </a:lnTo>
                <a:lnTo>
                  <a:pt x="3140964" y="629412"/>
                </a:lnTo>
                <a:lnTo>
                  <a:pt x="3150108" y="624839"/>
                </a:lnTo>
                <a:lnTo>
                  <a:pt x="3157728" y="620268"/>
                </a:lnTo>
                <a:lnTo>
                  <a:pt x="3165348" y="614172"/>
                </a:lnTo>
                <a:lnTo>
                  <a:pt x="3172968" y="606552"/>
                </a:lnTo>
                <a:lnTo>
                  <a:pt x="3172968" y="608076"/>
                </a:lnTo>
                <a:lnTo>
                  <a:pt x="3186684" y="608076"/>
                </a:lnTo>
                <a:lnTo>
                  <a:pt x="3172968" y="621791"/>
                </a:lnTo>
                <a:lnTo>
                  <a:pt x="3154680" y="633984"/>
                </a:lnTo>
                <a:lnTo>
                  <a:pt x="3145536" y="638556"/>
                </a:lnTo>
                <a:lnTo>
                  <a:pt x="3138424" y="641604"/>
                </a:lnTo>
                <a:close/>
              </a:path>
              <a:path w="3213100" h="647700">
                <a:moveTo>
                  <a:pt x="9143" y="641604"/>
                </a:moveTo>
                <a:lnTo>
                  <a:pt x="4572" y="637032"/>
                </a:lnTo>
                <a:lnTo>
                  <a:pt x="9143" y="637032"/>
                </a:lnTo>
                <a:lnTo>
                  <a:pt x="9143" y="641604"/>
                </a:lnTo>
                <a:close/>
              </a:path>
            </a:pathLst>
          </a:custGeom>
          <a:solidFill>
            <a:srgbClr val="F6CACD">
              <a:alpha val="89843"/>
            </a:srgbClr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9" name="bk object 19"/>
          <p:cNvSpPr/>
          <p:nvPr/>
        </p:nvSpPr>
        <p:spPr>
          <a:xfrm>
            <a:off x="7647709" y="2517289"/>
            <a:ext cx="3883121" cy="560854"/>
          </a:xfrm>
          <a:custGeom>
            <a:avLst/>
            <a:gdLst/>
            <a:ahLst/>
            <a:cxnLst/>
            <a:rect l="l" t="t" r="r" b="b"/>
            <a:pathLst>
              <a:path w="3203575" h="635635">
                <a:moveTo>
                  <a:pt x="3096768" y="635508"/>
                </a:moveTo>
                <a:lnTo>
                  <a:pt x="0" y="635508"/>
                </a:lnTo>
                <a:lnTo>
                  <a:pt x="0" y="0"/>
                </a:lnTo>
                <a:lnTo>
                  <a:pt x="3096768" y="0"/>
                </a:lnTo>
                <a:lnTo>
                  <a:pt x="3138511" y="8286"/>
                </a:lnTo>
                <a:lnTo>
                  <a:pt x="3172396" y="30861"/>
                </a:lnTo>
                <a:lnTo>
                  <a:pt x="3195137" y="64293"/>
                </a:lnTo>
                <a:lnTo>
                  <a:pt x="3203448" y="105156"/>
                </a:lnTo>
                <a:lnTo>
                  <a:pt x="3203448" y="528828"/>
                </a:lnTo>
                <a:lnTo>
                  <a:pt x="3195137" y="570571"/>
                </a:lnTo>
                <a:lnTo>
                  <a:pt x="3172396" y="604456"/>
                </a:lnTo>
                <a:lnTo>
                  <a:pt x="3138511" y="627197"/>
                </a:lnTo>
                <a:lnTo>
                  <a:pt x="3096768" y="635508"/>
                </a:lnTo>
                <a:close/>
              </a:path>
            </a:pathLst>
          </a:custGeom>
          <a:solidFill>
            <a:srgbClr val="C1C1C1">
              <a:alpha val="89843"/>
            </a:srgbClr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20" name="bk object 20"/>
          <p:cNvSpPr/>
          <p:nvPr/>
        </p:nvSpPr>
        <p:spPr>
          <a:xfrm>
            <a:off x="7642167" y="2511911"/>
            <a:ext cx="3894667" cy="570379"/>
          </a:xfrm>
          <a:custGeom>
            <a:avLst/>
            <a:gdLst/>
            <a:ahLst/>
            <a:cxnLst/>
            <a:rect l="l" t="t" r="r" b="b"/>
            <a:pathLst>
              <a:path w="3213100" h="646429">
                <a:moveTo>
                  <a:pt x="3113532" y="646176"/>
                </a:moveTo>
                <a:lnTo>
                  <a:pt x="0" y="646176"/>
                </a:lnTo>
                <a:lnTo>
                  <a:pt x="0" y="0"/>
                </a:lnTo>
                <a:lnTo>
                  <a:pt x="3101340" y="0"/>
                </a:lnTo>
                <a:lnTo>
                  <a:pt x="3113532" y="1524"/>
                </a:lnTo>
                <a:lnTo>
                  <a:pt x="3124200" y="3048"/>
                </a:lnTo>
                <a:lnTo>
                  <a:pt x="3134868" y="6096"/>
                </a:lnTo>
                <a:lnTo>
                  <a:pt x="9143" y="6096"/>
                </a:lnTo>
                <a:lnTo>
                  <a:pt x="4572" y="10668"/>
                </a:lnTo>
                <a:lnTo>
                  <a:pt x="9143" y="10668"/>
                </a:lnTo>
                <a:lnTo>
                  <a:pt x="9143" y="635508"/>
                </a:lnTo>
                <a:lnTo>
                  <a:pt x="4572" y="635508"/>
                </a:lnTo>
                <a:lnTo>
                  <a:pt x="9143" y="641604"/>
                </a:lnTo>
                <a:lnTo>
                  <a:pt x="3134868" y="641604"/>
                </a:lnTo>
                <a:lnTo>
                  <a:pt x="3124200" y="644652"/>
                </a:lnTo>
                <a:lnTo>
                  <a:pt x="3113532" y="646176"/>
                </a:lnTo>
                <a:close/>
              </a:path>
              <a:path w="3213100" h="646429">
                <a:moveTo>
                  <a:pt x="9143" y="10668"/>
                </a:moveTo>
                <a:lnTo>
                  <a:pt x="4572" y="10668"/>
                </a:lnTo>
                <a:lnTo>
                  <a:pt x="9143" y="6096"/>
                </a:lnTo>
                <a:lnTo>
                  <a:pt x="9143" y="10668"/>
                </a:lnTo>
                <a:close/>
              </a:path>
              <a:path w="3213100" h="646429">
                <a:moveTo>
                  <a:pt x="3140964" y="19812"/>
                </a:moveTo>
                <a:lnTo>
                  <a:pt x="3131820" y="15240"/>
                </a:lnTo>
                <a:lnTo>
                  <a:pt x="3121152" y="13716"/>
                </a:lnTo>
                <a:lnTo>
                  <a:pt x="3122676" y="13716"/>
                </a:lnTo>
                <a:lnTo>
                  <a:pt x="3101340" y="10668"/>
                </a:lnTo>
                <a:lnTo>
                  <a:pt x="9143" y="10668"/>
                </a:lnTo>
                <a:lnTo>
                  <a:pt x="9143" y="6096"/>
                </a:lnTo>
                <a:lnTo>
                  <a:pt x="3134868" y="6096"/>
                </a:lnTo>
                <a:lnTo>
                  <a:pt x="3145536" y="9144"/>
                </a:lnTo>
                <a:lnTo>
                  <a:pt x="3154680" y="13716"/>
                </a:lnTo>
                <a:lnTo>
                  <a:pt x="3161538" y="18288"/>
                </a:lnTo>
                <a:lnTo>
                  <a:pt x="3140964" y="18288"/>
                </a:lnTo>
                <a:lnTo>
                  <a:pt x="3140964" y="19812"/>
                </a:lnTo>
                <a:close/>
              </a:path>
              <a:path w="3213100" h="646429">
                <a:moveTo>
                  <a:pt x="3165348" y="35052"/>
                </a:moveTo>
                <a:lnTo>
                  <a:pt x="3150108" y="22860"/>
                </a:lnTo>
                <a:lnTo>
                  <a:pt x="3140964" y="18288"/>
                </a:lnTo>
                <a:lnTo>
                  <a:pt x="3161538" y="18288"/>
                </a:lnTo>
                <a:lnTo>
                  <a:pt x="3172968" y="25908"/>
                </a:lnTo>
                <a:lnTo>
                  <a:pt x="3180588" y="33528"/>
                </a:lnTo>
                <a:lnTo>
                  <a:pt x="3165348" y="33528"/>
                </a:lnTo>
                <a:lnTo>
                  <a:pt x="3165348" y="35052"/>
                </a:lnTo>
                <a:close/>
              </a:path>
              <a:path w="3213100" h="646429">
                <a:moveTo>
                  <a:pt x="3179064" y="48768"/>
                </a:moveTo>
                <a:lnTo>
                  <a:pt x="3172968" y="41148"/>
                </a:lnTo>
                <a:lnTo>
                  <a:pt x="3165348" y="33528"/>
                </a:lnTo>
                <a:lnTo>
                  <a:pt x="3180588" y="33528"/>
                </a:lnTo>
                <a:lnTo>
                  <a:pt x="3188208" y="41148"/>
                </a:lnTo>
                <a:lnTo>
                  <a:pt x="3192272" y="47244"/>
                </a:lnTo>
                <a:lnTo>
                  <a:pt x="3179064" y="47244"/>
                </a:lnTo>
                <a:lnTo>
                  <a:pt x="3179064" y="48768"/>
                </a:lnTo>
                <a:close/>
              </a:path>
              <a:path w="3213100" h="646429">
                <a:moveTo>
                  <a:pt x="3185160" y="56388"/>
                </a:moveTo>
                <a:lnTo>
                  <a:pt x="3179064" y="47244"/>
                </a:lnTo>
                <a:lnTo>
                  <a:pt x="3192272" y="47244"/>
                </a:lnTo>
                <a:lnTo>
                  <a:pt x="3194304" y="50292"/>
                </a:lnTo>
                <a:lnTo>
                  <a:pt x="3196590" y="54864"/>
                </a:lnTo>
                <a:lnTo>
                  <a:pt x="3185160" y="54864"/>
                </a:lnTo>
                <a:lnTo>
                  <a:pt x="3185160" y="56388"/>
                </a:lnTo>
                <a:close/>
              </a:path>
              <a:path w="3213100" h="646429">
                <a:moveTo>
                  <a:pt x="3201924" y="102108"/>
                </a:moveTo>
                <a:lnTo>
                  <a:pt x="3200400" y="91440"/>
                </a:lnTo>
                <a:lnTo>
                  <a:pt x="3197352" y="82296"/>
                </a:lnTo>
                <a:lnTo>
                  <a:pt x="3198876" y="82296"/>
                </a:lnTo>
                <a:lnTo>
                  <a:pt x="3185160" y="54864"/>
                </a:lnTo>
                <a:lnTo>
                  <a:pt x="3196590" y="54864"/>
                </a:lnTo>
                <a:lnTo>
                  <a:pt x="3198876" y="59436"/>
                </a:lnTo>
                <a:lnTo>
                  <a:pt x="3204972" y="68580"/>
                </a:lnTo>
                <a:lnTo>
                  <a:pt x="3211068" y="89916"/>
                </a:lnTo>
                <a:lnTo>
                  <a:pt x="3212592" y="100584"/>
                </a:lnTo>
                <a:lnTo>
                  <a:pt x="3201924" y="100584"/>
                </a:lnTo>
                <a:lnTo>
                  <a:pt x="3201924" y="102108"/>
                </a:lnTo>
                <a:close/>
              </a:path>
              <a:path w="3213100" h="646429">
                <a:moveTo>
                  <a:pt x="3168396" y="624839"/>
                </a:moveTo>
                <a:lnTo>
                  <a:pt x="3150108" y="624839"/>
                </a:lnTo>
                <a:lnTo>
                  <a:pt x="3172968" y="606552"/>
                </a:lnTo>
                <a:lnTo>
                  <a:pt x="3185160" y="591312"/>
                </a:lnTo>
                <a:lnTo>
                  <a:pt x="3189732" y="583691"/>
                </a:lnTo>
                <a:lnTo>
                  <a:pt x="3198876" y="565404"/>
                </a:lnTo>
                <a:lnTo>
                  <a:pt x="3197352" y="565404"/>
                </a:lnTo>
                <a:lnTo>
                  <a:pt x="3200400" y="556260"/>
                </a:lnTo>
                <a:lnTo>
                  <a:pt x="3201924" y="545591"/>
                </a:lnTo>
                <a:lnTo>
                  <a:pt x="3201924" y="100584"/>
                </a:lnTo>
                <a:lnTo>
                  <a:pt x="3212592" y="100584"/>
                </a:lnTo>
                <a:lnTo>
                  <a:pt x="3212592" y="547115"/>
                </a:lnTo>
                <a:lnTo>
                  <a:pt x="3211068" y="557784"/>
                </a:lnTo>
                <a:lnTo>
                  <a:pt x="3204972" y="579120"/>
                </a:lnTo>
                <a:lnTo>
                  <a:pt x="3198876" y="588264"/>
                </a:lnTo>
                <a:lnTo>
                  <a:pt x="3194304" y="597408"/>
                </a:lnTo>
                <a:lnTo>
                  <a:pt x="3188208" y="606552"/>
                </a:lnTo>
                <a:lnTo>
                  <a:pt x="3172968" y="621791"/>
                </a:lnTo>
                <a:lnTo>
                  <a:pt x="3168396" y="624839"/>
                </a:lnTo>
                <a:close/>
              </a:path>
              <a:path w="3213100" h="646429">
                <a:moveTo>
                  <a:pt x="3156966" y="632460"/>
                </a:moveTo>
                <a:lnTo>
                  <a:pt x="3131820" y="632460"/>
                </a:lnTo>
                <a:lnTo>
                  <a:pt x="3150108" y="623315"/>
                </a:lnTo>
                <a:lnTo>
                  <a:pt x="3150108" y="624839"/>
                </a:lnTo>
                <a:lnTo>
                  <a:pt x="3168396" y="624839"/>
                </a:lnTo>
                <a:lnTo>
                  <a:pt x="3156966" y="632460"/>
                </a:lnTo>
                <a:close/>
              </a:path>
              <a:path w="3213100" h="646429">
                <a:moveTo>
                  <a:pt x="3134868" y="641604"/>
                </a:moveTo>
                <a:lnTo>
                  <a:pt x="9143" y="641604"/>
                </a:lnTo>
                <a:lnTo>
                  <a:pt x="9143" y="635508"/>
                </a:lnTo>
                <a:lnTo>
                  <a:pt x="3112008" y="635508"/>
                </a:lnTo>
                <a:lnTo>
                  <a:pt x="3122676" y="633984"/>
                </a:lnTo>
                <a:lnTo>
                  <a:pt x="3121152" y="633984"/>
                </a:lnTo>
                <a:lnTo>
                  <a:pt x="3131820" y="630936"/>
                </a:lnTo>
                <a:lnTo>
                  <a:pt x="3131820" y="632460"/>
                </a:lnTo>
                <a:lnTo>
                  <a:pt x="3156966" y="632460"/>
                </a:lnTo>
                <a:lnTo>
                  <a:pt x="3154680" y="633984"/>
                </a:lnTo>
                <a:lnTo>
                  <a:pt x="3145536" y="638556"/>
                </a:lnTo>
                <a:lnTo>
                  <a:pt x="3134868" y="641604"/>
                </a:lnTo>
                <a:close/>
              </a:path>
              <a:path w="3213100" h="646429">
                <a:moveTo>
                  <a:pt x="9143" y="641604"/>
                </a:moveTo>
                <a:lnTo>
                  <a:pt x="4572" y="635508"/>
                </a:lnTo>
                <a:lnTo>
                  <a:pt x="9143" y="635508"/>
                </a:lnTo>
                <a:lnTo>
                  <a:pt x="9143" y="641604"/>
                </a:lnTo>
                <a:close/>
              </a:path>
            </a:pathLst>
          </a:custGeom>
          <a:solidFill>
            <a:srgbClr val="F6CACD">
              <a:alpha val="89843"/>
            </a:srgbClr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21" name="bk object 21"/>
          <p:cNvSpPr/>
          <p:nvPr/>
        </p:nvSpPr>
        <p:spPr>
          <a:xfrm>
            <a:off x="7647709" y="3252843"/>
            <a:ext cx="3883121" cy="562535"/>
          </a:xfrm>
          <a:custGeom>
            <a:avLst/>
            <a:gdLst/>
            <a:ahLst/>
            <a:cxnLst/>
            <a:rect l="l" t="t" r="r" b="b"/>
            <a:pathLst>
              <a:path w="3203575" h="637539">
                <a:moveTo>
                  <a:pt x="3096768" y="637032"/>
                </a:moveTo>
                <a:lnTo>
                  <a:pt x="0" y="637032"/>
                </a:lnTo>
                <a:lnTo>
                  <a:pt x="0" y="0"/>
                </a:lnTo>
                <a:lnTo>
                  <a:pt x="3096768" y="0"/>
                </a:lnTo>
                <a:lnTo>
                  <a:pt x="3138511" y="8524"/>
                </a:lnTo>
                <a:lnTo>
                  <a:pt x="3172396" y="31623"/>
                </a:lnTo>
                <a:lnTo>
                  <a:pt x="3195137" y="65579"/>
                </a:lnTo>
                <a:lnTo>
                  <a:pt x="3203448" y="106680"/>
                </a:lnTo>
                <a:lnTo>
                  <a:pt x="3203448" y="531876"/>
                </a:lnTo>
                <a:lnTo>
                  <a:pt x="3195137" y="572738"/>
                </a:lnTo>
                <a:lnTo>
                  <a:pt x="3172396" y="606171"/>
                </a:lnTo>
                <a:lnTo>
                  <a:pt x="3138511" y="628745"/>
                </a:lnTo>
                <a:lnTo>
                  <a:pt x="3096768" y="637032"/>
                </a:lnTo>
                <a:close/>
              </a:path>
            </a:pathLst>
          </a:custGeom>
          <a:solidFill>
            <a:srgbClr val="C1C1C1">
              <a:alpha val="89843"/>
            </a:srgbClr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22" name="bk object 22"/>
          <p:cNvSpPr/>
          <p:nvPr/>
        </p:nvSpPr>
        <p:spPr>
          <a:xfrm>
            <a:off x="7642167" y="3248809"/>
            <a:ext cx="3894667" cy="571500"/>
          </a:xfrm>
          <a:custGeom>
            <a:avLst/>
            <a:gdLst/>
            <a:ahLst/>
            <a:cxnLst/>
            <a:rect l="l" t="t" r="r" b="b"/>
            <a:pathLst>
              <a:path w="3213100" h="647700">
                <a:moveTo>
                  <a:pt x="3113532" y="647700"/>
                </a:moveTo>
                <a:lnTo>
                  <a:pt x="0" y="647700"/>
                </a:lnTo>
                <a:lnTo>
                  <a:pt x="0" y="0"/>
                </a:lnTo>
                <a:lnTo>
                  <a:pt x="3113532" y="0"/>
                </a:lnTo>
                <a:lnTo>
                  <a:pt x="3124200" y="1524"/>
                </a:lnTo>
                <a:lnTo>
                  <a:pt x="3134868" y="4572"/>
                </a:lnTo>
                <a:lnTo>
                  <a:pt x="9143" y="4572"/>
                </a:lnTo>
                <a:lnTo>
                  <a:pt x="4572" y="10668"/>
                </a:lnTo>
                <a:lnTo>
                  <a:pt x="9143" y="10668"/>
                </a:lnTo>
                <a:lnTo>
                  <a:pt x="9143" y="637032"/>
                </a:lnTo>
                <a:lnTo>
                  <a:pt x="4572" y="637032"/>
                </a:lnTo>
                <a:lnTo>
                  <a:pt x="9143" y="643128"/>
                </a:lnTo>
                <a:lnTo>
                  <a:pt x="3134868" y="643128"/>
                </a:lnTo>
                <a:lnTo>
                  <a:pt x="3124200" y="644652"/>
                </a:lnTo>
                <a:lnTo>
                  <a:pt x="3113532" y="647700"/>
                </a:lnTo>
                <a:close/>
              </a:path>
              <a:path w="3213100" h="647700">
                <a:moveTo>
                  <a:pt x="9143" y="10668"/>
                </a:moveTo>
                <a:lnTo>
                  <a:pt x="4572" y="10668"/>
                </a:lnTo>
                <a:lnTo>
                  <a:pt x="9143" y="4572"/>
                </a:lnTo>
                <a:lnTo>
                  <a:pt x="9143" y="10668"/>
                </a:lnTo>
                <a:close/>
              </a:path>
              <a:path w="3213100" h="647700">
                <a:moveTo>
                  <a:pt x="3189732" y="64008"/>
                </a:moveTo>
                <a:lnTo>
                  <a:pt x="3157728" y="27432"/>
                </a:lnTo>
                <a:lnTo>
                  <a:pt x="3121152" y="12192"/>
                </a:lnTo>
                <a:lnTo>
                  <a:pt x="3122676" y="12192"/>
                </a:lnTo>
                <a:lnTo>
                  <a:pt x="3112008" y="10668"/>
                </a:lnTo>
                <a:lnTo>
                  <a:pt x="9143" y="10668"/>
                </a:lnTo>
                <a:lnTo>
                  <a:pt x="9143" y="4572"/>
                </a:lnTo>
                <a:lnTo>
                  <a:pt x="3134868" y="4572"/>
                </a:lnTo>
                <a:lnTo>
                  <a:pt x="3145536" y="9144"/>
                </a:lnTo>
                <a:lnTo>
                  <a:pt x="3180588" y="32004"/>
                </a:lnTo>
                <a:lnTo>
                  <a:pt x="3198876" y="57912"/>
                </a:lnTo>
                <a:lnTo>
                  <a:pt x="3201488" y="62484"/>
                </a:lnTo>
                <a:lnTo>
                  <a:pt x="3189732" y="62484"/>
                </a:lnTo>
                <a:lnTo>
                  <a:pt x="3189732" y="64008"/>
                </a:lnTo>
                <a:close/>
              </a:path>
              <a:path w="3213100" h="647700">
                <a:moveTo>
                  <a:pt x="3209326" y="82296"/>
                </a:moveTo>
                <a:lnTo>
                  <a:pt x="3198876" y="82296"/>
                </a:lnTo>
                <a:lnTo>
                  <a:pt x="3194304" y="71628"/>
                </a:lnTo>
                <a:lnTo>
                  <a:pt x="3189732" y="62484"/>
                </a:lnTo>
                <a:lnTo>
                  <a:pt x="3201488" y="62484"/>
                </a:lnTo>
                <a:lnTo>
                  <a:pt x="3204972" y="68580"/>
                </a:lnTo>
                <a:lnTo>
                  <a:pt x="3208020" y="77724"/>
                </a:lnTo>
                <a:lnTo>
                  <a:pt x="3209326" y="82296"/>
                </a:lnTo>
                <a:close/>
              </a:path>
              <a:path w="3213100" h="647700">
                <a:moveTo>
                  <a:pt x="3201924" y="102108"/>
                </a:moveTo>
                <a:lnTo>
                  <a:pt x="3200400" y="91440"/>
                </a:lnTo>
                <a:lnTo>
                  <a:pt x="3197352" y="80772"/>
                </a:lnTo>
                <a:lnTo>
                  <a:pt x="3198876" y="82296"/>
                </a:lnTo>
                <a:lnTo>
                  <a:pt x="3209326" y="82296"/>
                </a:lnTo>
                <a:lnTo>
                  <a:pt x="3211068" y="88392"/>
                </a:lnTo>
                <a:lnTo>
                  <a:pt x="3212592" y="100584"/>
                </a:lnTo>
                <a:lnTo>
                  <a:pt x="3201924" y="100584"/>
                </a:lnTo>
                <a:lnTo>
                  <a:pt x="3201924" y="102108"/>
                </a:lnTo>
                <a:close/>
              </a:path>
              <a:path w="3213100" h="647700">
                <a:moveTo>
                  <a:pt x="3212592" y="547115"/>
                </a:moveTo>
                <a:lnTo>
                  <a:pt x="3201924" y="547115"/>
                </a:lnTo>
                <a:lnTo>
                  <a:pt x="3201924" y="100584"/>
                </a:lnTo>
                <a:lnTo>
                  <a:pt x="3212592" y="100584"/>
                </a:lnTo>
                <a:lnTo>
                  <a:pt x="3212592" y="547115"/>
                </a:lnTo>
                <a:close/>
              </a:path>
              <a:path w="3213100" h="647700">
                <a:moveTo>
                  <a:pt x="3197352" y="566928"/>
                </a:moveTo>
                <a:lnTo>
                  <a:pt x="3200400" y="556260"/>
                </a:lnTo>
                <a:lnTo>
                  <a:pt x="3201924" y="545591"/>
                </a:lnTo>
                <a:lnTo>
                  <a:pt x="3201924" y="547115"/>
                </a:lnTo>
                <a:lnTo>
                  <a:pt x="3212592" y="547115"/>
                </a:lnTo>
                <a:lnTo>
                  <a:pt x="3211068" y="559308"/>
                </a:lnTo>
                <a:lnTo>
                  <a:pt x="3209326" y="565404"/>
                </a:lnTo>
                <a:lnTo>
                  <a:pt x="3198876" y="565404"/>
                </a:lnTo>
                <a:lnTo>
                  <a:pt x="3197352" y="566928"/>
                </a:lnTo>
                <a:close/>
              </a:path>
              <a:path w="3213100" h="647700">
                <a:moveTo>
                  <a:pt x="3205988" y="576072"/>
                </a:moveTo>
                <a:lnTo>
                  <a:pt x="3194304" y="576072"/>
                </a:lnTo>
                <a:lnTo>
                  <a:pt x="3198876" y="565404"/>
                </a:lnTo>
                <a:lnTo>
                  <a:pt x="3209326" y="565404"/>
                </a:lnTo>
                <a:lnTo>
                  <a:pt x="3208020" y="569976"/>
                </a:lnTo>
                <a:lnTo>
                  <a:pt x="3205988" y="576072"/>
                </a:lnTo>
                <a:close/>
              </a:path>
              <a:path w="3213100" h="647700">
                <a:moveTo>
                  <a:pt x="3201488" y="585215"/>
                </a:moveTo>
                <a:lnTo>
                  <a:pt x="3189732" y="585215"/>
                </a:lnTo>
                <a:lnTo>
                  <a:pt x="3194304" y="574548"/>
                </a:lnTo>
                <a:lnTo>
                  <a:pt x="3194304" y="576072"/>
                </a:lnTo>
                <a:lnTo>
                  <a:pt x="3205988" y="576072"/>
                </a:lnTo>
                <a:lnTo>
                  <a:pt x="3204972" y="579120"/>
                </a:lnTo>
                <a:lnTo>
                  <a:pt x="3201488" y="585215"/>
                </a:lnTo>
                <a:close/>
              </a:path>
              <a:path w="3213100" h="647700">
                <a:moveTo>
                  <a:pt x="3134868" y="643128"/>
                </a:moveTo>
                <a:lnTo>
                  <a:pt x="9143" y="643128"/>
                </a:lnTo>
                <a:lnTo>
                  <a:pt x="9143" y="637032"/>
                </a:lnTo>
                <a:lnTo>
                  <a:pt x="3112008" y="637032"/>
                </a:lnTo>
                <a:lnTo>
                  <a:pt x="3122676" y="635508"/>
                </a:lnTo>
                <a:lnTo>
                  <a:pt x="3121152" y="635508"/>
                </a:lnTo>
                <a:lnTo>
                  <a:pt x="3131820" y="632460"/>
                </a:lnTo>
                <a:lnTo>
                  <a:pt x="3140964" y="629412"/>
                </a:lnTo>
                <a:lnTo>
                  <a:pt x="3172968" y="608076"/>
                </a:lnTo>
                <a:lnTo>
                  <a:pt x="3189732" y="583691"/>
                </a:lnTo>
                <a:lnTo>
                  <a:pt x="3189732" y="585215"/>
                </a:lnTo>
                <a:lnTo>
                  <a:pt x="3201488" y="585215"/>
                </a:lnTo>
                <a:lnTo>
                  <a:pt x="3198876" y="589788"/>
                </a:lnTo>
                <a:lnTo>
                  <a:pt x="3194304" y="598932"/>
                </a:lnTo>
                <a:lnTo>
                  <a:pt x="3154680" y="633984"/>
                </a:lnTo>
                <a:lnTo>
                  <a:pt x="3145536" y="638556"/>
                </a:lnTo>
                <a:lnTo>
                  <a:pt x="3134868" y="643128"/>
                </a:lnTo>
                <a:close/>
              </a:path>
              <a:path w="3213100" h="647700">
                <a:moveTo>
                  <a:pt x="9143" y="643128"/>
                </a:moveTo>
                <a:lnTo>
                  <a:pt x="4572" y="637032"/>
                </a:lnTo>
                <a:lnTo>
                  <a:pt x="9143" y="637032"/>
                </a:lnTo>
                <a:lnTo>
                  <a:pt x="9143" y="643128"/>
                </a:lnTo>
                <a:close/>
              </a:path>
            </a:pathLst>
          </a:custGeom>
          <a:solidFill>
            <a:srgbClr val="F6CACD">
              <a:alpha val="89843"/>
            </a:srgbClr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0" i="0">
                <a:solidFill>
                  <a:srgbClr val="1C1C1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1C1C1A"/>
                </a:solidFill>
                <a:latin typeface="Arial"/>
                <a:cs typeface="Arial"/>
              </a:defRPr>
            </a:lvl1pPr>
          </a:lstStyle>
          <a:p>
            <a:pPr marL="26670">
              <a:spcBef>
                <a:spcPts val="20"/>
              </a:spcBef>
            </a:pPr>
            <a:fld id="{81D60167-4931-47E6-BA6A-407CBD079E47}" type="slidenum">
              <a:rPr spc="-5" dirty="0"/>
              <a:pPr marL="26670">
                <a:spcBef>
                  <a:spcPts val="20"/>
                </a:spcBef>
              </a:pPr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13491318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0" i="0">
                <a:solidFill>
                  <a:srgbClr val="1C1C1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1C1C1A"/>
                </a:solidFill>
                <a:latin typeface="Arial"/>
                <a:cs typeface="Arial"/>
              </a:defRPr>
            </a:lvl1pPr>
          </a:lstStyle>
          <a:p>
            <a:pPr marL="26670">
              <a:spcBef>
                <a:spcPts val="20"/>
              </a:spcBef>
            </a:pPr>
            <a:fld id="{81D60167-4931-47E6-BA6A-407CBD079E47}" type="slidenum">
              <a:rPr spc="-5" dirty="0"/>
              <a:pPr marL="26670">
                <a:spcBef>
                  <a:spcPts val="20"/>
                </a:spcBef>
              </a:pPr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1095294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ne - 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" y="3846786"/>
            <a:ext cx="2439558" cy="215988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9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876228" y="3846786"/>
            <a:ext cx="2439561" cy="215988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94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438117" y="3846786"/>
            <a:ext cx="2439558" cy="2159880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9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-1" y="1686911"/>
            <a:ext cx="2439561" cy="215987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96" name="Straight Connector 3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97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9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876224" y="1686911"/>
            <a:ext cx="2439561" cy="215987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9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2438116" y="1686911"/>
            <a:ext cx="2439561" cy="2159876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0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1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1C1C1A"/>
                </a:solidFill>
                <a:latin typeface="Arial"/>
                <a:cs typeface="Arial"/>
              </a:defRPr>
            </a:lvl1pPr>
          </a:lstStyle>
          <a:p>
            <a:pPr marL="26670">
              <a:spcBef>
                <a:spcPts val="20"/>
              </a:spcBef>
            </a:pPr>
            <a:fld id="{81D60167-4931-47E6-BA6A-407CBD079E47}" type="slidenum">
              <a:rPr spc="-5" dirty="0"/>
              <a:pPr marL="26670">
                <a:spcBef>
                  <a:spcPts val="20"/>
                </a:spcBef>
              </a:pPr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1639656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ne - Bottom Gall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-1901" y="5254907"/>
            <a:ext cx="2395732" cy="16002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2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803867" y="3598228"/>
            <a:ext cx="2395732" cy="16002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2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9803867" y="5254907"/>
            <a:ext cx="2395732" cy="16002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2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3598228"/>
            <a:ext cx="2395728" cy="16002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30" name="Straight Connector 3"/>
          <p:cNvSpPr/>
          <p:nvPr/>
        </p:nvSpPr>
        <p:spPr>
          <a:xfrm>
            <a:off x="634304" y="1213928"/>
            <a:ext cx="731525" cy="5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131" name="Title Text"/>
          <p:cNvSpPr txBox="1">
            <a:spLocks noGrp="1"/>
          </p:cNvSpPr>
          <p:nvPr>
            <p:ph type="title"/>
          </p:nvPr>
        </p:nvSpPr>
        <p:spPr>
          <a:xfrm>
            <a:off x="527496" y="562783"/>
            <a:ext cx="7913918" cy="5847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3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2450968" y="3598228"/>
            <a:ext cx="2395732" cy="16002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3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7352900" y="3598228"/>
            <a:ext cx="2395732" cy="16002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3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4901935" y="3598228"/>
            <a:ext cx="2395732" cy="16002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35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2449542" y="5254907"/>
            <a:ext cx="2395731" cy="16002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36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7352427" y="5254907"/>
            <a:ext cx="2395732" cy="16002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3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4900991" y="5254907"/>
            <a:ext cx="2395728" cy="16002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3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-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67200" y="2088781"/>
            <a:ext cx="3657600" cy="3657604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46" name="Straight Connector 5"/>
          <p:cNvSpPr/>
          <p:nvPr/>
        </p:nvSpPr>
        <p:spPr>
          <a:xfrm>
            <a:off x="634304" y="1686905"/>
            <a:ext cx="731525" cy="4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147" name="Title Text"/>
          <p:cNvSpPr txBox="1">
            <a:spLocks noGrp="1"/>
          </p:cNvSpPr>
          <p:nvPr>
            <p:ph type="title"/>
          </p:nvPr>
        </p:nvSpPr>
        <p:spPr>
          <a:xfrm>
            <a:off x="527498" y="543915"/>
            <a:ext cx="7384285" cy="115451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4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-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524958" y="2528172"/>
            <a:ext cx="2743201" cy="27432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5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23776" y="2528172"/>
            <a:ext cx="2743204" cy="2743201"/>
          </a:xfrm>
          <a:prstGeom prst="rect">
            <a:avLst/>
          </a:prstGeom>
        </p:spPr>
        <p:txBody>
          <a:bodyPr lIns="91427" tIns="45714" rIns="91427" bIns="45714">
            <a:noAutofit/>
          </a:bodyPr>
          <a:lstStyle/>
          <a:p>
            <a:endParaRPr/>
          </a:p>
        </p:txBody>
      </p:sp>
      <p:sp>
        <p:nvSpPr>
          <p:cNvPr id="157" name="Straight Connector 7"/>
          <p:cNvSpPr/>
          <p:nvPr/>
        </p:nvSpPr>
        <p:spPr>
          <a:xfrm>
            <a:off x="634304" y="1686905"/>
            <a:ext cx="731525" cy="4"/>
          </a:xfrm>
          <a:prstGeom prst="line">
            <a:avLst/>
          </a:prstGeom>
          <a:ln w="28575">
            <a:solidFill>
              <a:schemeClr val="accent3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sp>
        <p:nvSpPr>
          <p:cNvPr id="158" name="Title Text"/>
          <p:cNvSpPr txBox="1">
            <a:spLocks noGrp="1"/>
          </p:cNvSpPr>
          <p:nvPr>
            <p:ph type="title"/>
          </p:nvPr>
        </p:nvSpPr>
        <p:spPr>
          <a:xfrm>
            <a:off x="527498" y="543915"/>
            <a:ext cx="7384285" cy="115451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C57D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5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1826690" y="769939"/>
            <a:ext cx="9753601" cy="1668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2" tIns="45712" rIns="45712" bIns="45712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6805090" y="2438400"/>
            <a:ext cx="4775201" cy="4419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2" tIns="45712" rIns="45712" bIns="45712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57741" y="6217864"/>
            <a:ext cx="279868" cy="276983"/>
          </a:xfrm>
          <a:prstGeom prst="rect">
            <a:avLst/>
          </a:prstGeom>
          <a:ln w="12700">
            <a:miter lim="400000"/>
          </a:ln>
        </p:spPr>
        <p:txBody>
          <a:bodyPr wrap="none" lIns="45712" tIns="45712" rIns="45712" bIns="45712" anchor="ctr">
            <a:spAutoFit/>
          </a:bodyPr>
          <a:lstStyle>
            <a:lvl1pPr algn="r">
              <a:defRPr sz="1200">
                <a:solidFill>
                  <a:srgbClr val="8F9098"/>
                </a:solidFill>
                <a:latin typeface="+mj-lt"/>
                <a:ea typeface="+mj-ea"/>
                <a:cs typeface="+mj-cs"/>
                <a:sym typeface="Roboto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1" r:id="rId18"/>
    <p:sldLayoutId id="2147483674" r:id="rId19"/>
    <p:sldLayoutId id="2147483675" r:id="rId20"/>
    <p:sldLayoutId id="2147483676" r:id="rId21"/>
    <p:sldLayoutId id="2147483677" r:id="rId22"/>
    <p:sldLayoutId id="2147483680" r:id="rId23"/>
    <p:sldLayoutId id="2147483681" r:id="rId24"/>
    <p:sldLayoutId id="2147483682" r:id="rId25"/>
    <p:sldLayoutId id="2147483683" r:id="rId26"/>
    <p:sldLayoutId id="2147483684" r:id="rId27"/>
    <p:sldLayoutId id="2147483685" r:id="rId28"/>
    <p:sldLayoutId id="2147483686" r:id="rId29"/>
    <p:sldLayoutId id="2147483687" r:id="rId30"/>
    <p:sldLayoutId id="2147483688" r:id="rId31"/>
    <p:sldLayoutId id="2147483689" r:id="rId32"/>
    <p:sldLayoutId id="2147483690" r:id="rId33"/>
    <p:sldLayoutId id="2147483691" r:id="rId34"/>
    <p:sldLayoutId id="2147483692" r:id="rId35"/>
    <p:sldLayoutId id="2147483704" r:id="rId36"/>
  </p:sldLayoutIdLst>
  <p:transition spd="med"/>
  <p:hf hdr="0" ftr="0" dt="0"/>
  <p:txStyles>
    <p:titleStyle>
      <a:lvl1pPr marL="0" marR="0" indent="0" algn="l" defTabSz="9142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B4057"/>
          </a:solidFill>
          <a:uFillTx/>
          <a:latin typeface="Roboto Slab Regular"/>
          <a:ea typeface="Roboto Slab Regular"/>
          <a:cs typeface="Roboto Slab Regular"/>
          <a:sym typeface="Roboto Slab Regular"/>
        </a:defRPr>
      </a:lvl1pPr>
      <a:lvl2pPr marL="0" marR="0" indent="0" algn="l" defTabSz="9142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B4057"/>
          </a:solidFill>
          <a:uFillTx/>
          <a:latin typeface="Roboto Slab Regular"/>
          <a:ea typeface="Roboto Slab Regular"/>
          <a:cs typeface="Roboto Slab Regular"/>
          <a:sym typeface="Roboto Slab Regular"/>
        </a:defRPr>
      </a:lvl2pPr>
      <a:lvl3pPr marL="0" marR="0" indent="0" algn="l" defTabSz="9142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B4057"/>
          </a:solidFill>
          <a:uFillTx/>
          <a:latin typeface="Roboto Slab Regular"/>
          <a:ea typeface="Roboto Slab Regular"/>
          <a:cs typeface="Roboto Slab Regular"/>
          <a:sym typeface="Roboto Slab Regular"/>
        </a:defRPr>
      </a:lvl3pPr>
      <a:lvl4pPr marL="0" marR="0" indent="0" algn="l" defTabSz="9142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B4057"/>
          </a:solidFill>
          <a:uFillTx/>
          <a:latin typeface="Roboto Slab Regular"/>
          <a:ea typeface="Roboto Slab Regular"/>
          <a:cs typeface="Roboto Slab Regular"/>
          <a:sym typeface="Roboto Slab Regular"/>
        </a:defRPr>
      </a:lvl4pPr>
      <a:lvl5pPr marL="0" marR="0" indent="0" algn="l" defTabSz="9142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B4057"/>
          </a:solidFill>
          <a:uFillTx/>
          <a:latin typeface="Roboto Slab Regular"/>
          <a:ea typeface="Roboto Slab Regular"/>
          <a:cs typeface="Roboto Slab Regular"/>
          <a:sym typeface="Roboto Slab Regular"/>
        </a:defRPr>
      </a:lvl5pPr>
      <a:lvl6pPr marL="0" marR="0" indent="0" algn="l" defTabSz="9142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B4057"/>
          </a:solidFill>
          <a:uFillTx/>
          <a:latin typeface="Roboto Slab Regular"/>
          <a:ea typeface="Roboto Slab Regular"/>
          <a:cs typeface="Roboto Slab Regular"/>
          <a:sym typeface="Roboto Slab Regular"/>
        </a:defRPr>
      </a:lvl6pPr>
      <a:lvl7pPr marL="0" marR="0" indent="0" algn="l" defTabSz="9142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B4057"/>
          </a:solidFill>
          <a:uFillTx/>
          <a:latin typeface="Roboto Slab Regular"/>
          <a:ea typeface="Roboto Slab Regular"/>
          <a:cs typeface="Roboto Slab Regular"/>
          <a:sym typeface="Roboto Slab Regular"/>
        </a:defRPr>
      </a:lvl7pPr>
      <a:lvl8pPr marL="0" marR="0" indent="0" algn="l" defTabSz="9142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B4057"/>
          </a:solidFill>
          <a:uFillTx/>
          <a:latin typeface="Roboto Slab Regular"/>
          <a:ea typeface="Roboto Slab Regular"/>
          <a:cs typeface="Roboto Slab Regular"/>
          <a:sym typeface="Roboto Slab Regular"/>
        </a:defRPr>
      </a:lvl8pPr>
      <a:lvl9pPr marL="0" marR="0" indent="0" algn="l" defTabSz="9142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B4057"/>
          </a:solidFill>
          <a:uFillTx/>
          <a:latin typeface="Roboto Slab Regular"/>
          <a:ea typeface="Roboto Slab Regular"/>
          <a:cs typeface="Roboto Slab Regular"/>
          <a:sym typeface="Roboto Slab Regular"/>
        </a:defRPr>
      </a:lvl9pPr>
    </p:titleStyle>
    <p:bodyStyle>
      <a:lvl1pPr marL="228573" marR="0" indent="-228573" algn="l" defTabSz="914289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3B4057"/>
          </a:solidFill>
          <a:uFillTx/>
          <a:latin typeface="+mj-lt"/>
          <a:ea typeface="+mj-ea"/>
          <a:cs typeface="+mj-cs"/>
          <a:sym typeface="Roboto Light"/>
        </a:defRPr>
      </a:lvl1pPr>
      <a:lvl2pPr marL="723813" marR="0" indent="-266668" algn="l" defTabSz="914289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3B4057"/>
          </a:solidFill>
          <a:uFillTx/>
          <a:latin typeface="+mj-lt"/>
          <a:ea typeface="+mj-ea"/>
          <a:cs typeface="+mj-cs"/>
          <a:sym typeface="Roboto Light"/>
        </a:defRPr>
      </a:lvl2pPr>
      <a:lvl3pPr marL="1234289" marR="0" indent="-320000" algn="l" defTabSz="914289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3B4057"/>
          </a:solidFill>
          <a:uFillTx/>
          <a:latin typeface="+mj-lt"/>
          <a:ea typeface="+mj-ea"/>
          <a:cs typeface="+mj-cs"/>
          <a:sym typeface="Roboto Light"/>
        </a:defRPr>
      </a:lvl3pPr>
      <a:lvl4pPr marL="1726992" marR="0" indent="-355558" algn="l" defTabSz="914289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3B4057"/>
          </a:solidFill>
          <a:uFillTx/>
          <a:latin typeface="+mj-lt"/>
          <a:ea typeface="+mj-ea"/>
          <a:cs typeface="+mj-cs"/>
          <a:sym typeface="Roboto Light"/>
        </a:defRPr>
      </a:lvl4pPr>
      <a:lvl5pPr marL="2184138" marR="0" indent="-355558" algn="l" defTabSz="914289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3B4057"/>
          </a:solidFill>
          <a:uFillTx/>
          <a:latin typeface="+mj-lt"/>
          <a:ea typeface="+mj-ea"/>
          <a:cs typeface="+mj-cs"/>
          <a:sym typeface="Roboto Light"/>
        </a:defRPr>
      </a:lvl5pPr>
      <a:lvl6pPr marL="2641283" marR="0" indent="-355558" algn="l" defTabSz="914289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3B4057"/>
          </a:solidFill>
          <a:uFillTx/>
          <a:latin typeface="+mj-lt"/>
          <a:ea typeface="+mj-ea"/>
          <a:cs typeface="+mj-cs"/>
          <a:sym typeface="Roboto Light"/>
        </a:defRPr>
      </a:lvl6pPr>
      <a:lvl7pPr marL="3098429" marR="0" indent="-355558" algn="l" defTabSz="914289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3B4057"/>
          </a:solidFill>
          <a:uFillTx/>
          <a:latin typeface="+mj-lt"/>
          <a:ea typeface="+mj-ea"/>
          <a:cs typeface="+mj-cs"/>
          <a:sym typeface="Roboto Light"/>
        </a:defRPr>
      </a:lvl7pPr>
      <a:lvl8pPr marL="3555573" marR="0" indent="-355558" algn="l" defTabSz="914289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3B4057"/>
          </a:solidFill>
          <a:uFillTx/>
          <a:latin typeface="+mj-lt"/>
          <a:ea typeface="+mj-ea"/>
          <a:cs typeface="+mj-cs"/>
          <a:sym typeface="Roboto Light"/>
        </a:defRPr>
      </a:lvl8pPr>
      <a:lvl9pPr marL="4012718" marR="0" indent="-355558" algn="l" defTabSz="914289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3B4057"/>
          </a:solidFill>
          <a:uFillTx/>
          <a:latin typeface="+mj-lt"/>
          <a:ea typeface="+mj-ea"/>
          <a:cs typeface="+mj-cs"/>
          <a:sym typeface="Roboto Light"/>
        </a:defRPr>
      </a:lvl9pPr>
    </p:bodyStyle>
    <p:otherStyle>
      <a:lvl1pPr marL="0" marR="0" indent="0" algn="r" defTabSz="91428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Light"/>
        </a:defRPr>
      </a:lvl1pPr>
      <a:lvl2pPr marL="0" marR="0" indent="0" algn="r" defTabSz="91428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Light"/>
        </a:defRPr>
      </a:lvl2pPr>
      <a:lvl3pPr marL="0" marR="0" indent="0" algn="r" defTabSz="91428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Light"/>
        </a:defRPr>
      </a:lvl3pPr>
      <a:lvl4pPr marL="0" marR="0" indent="0" algn="r" defTabSz="91428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Light"/>
        </a:defRPr>
      </a:lvl4pPr>
      <a:lvl5pPr marL="0" marR="0" indent="0" algn="r" defTabSz="91428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Light"/>
        </a:defRPr>
      </a:lvl5pPr>
      <a:lvl6pPr marL="0" marR="0" indent="0" algn="r" defTabSz="91428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Light"/>
        </a:defRPr>
      </a:lvl6pPr>
      <a:lvl7pPr marL="0" marR="0" indent="0" algn="r" defTabSz="91428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Light"/>
        </a:defRPr>
      </a:lvl7pPr>
      <a:lvl8pPr marL="0" marR="0" indent="0" algn="r" defTabSz="91428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Light"/>
        </a:defRPr>
      </a:lvl8pPr>
      <a:lvl9pPr marL="0" marR="0" indent="0" algn="r" defTabSz="91428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oboto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36" tIns="45719" rIns="91436" bIns="45719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60" hangingPunct="1"/>
            <a:fld id="{C60BCA16-EA4E-45B3-A8D3-F0445B11D059}" type="datetime1">
              <a:rPr lang="en-US" kern="1200" smtClean="0">
                <a:solidFill>
                  <a:prstClr val="black">
                    <a:tint val="75000"/>
                  </a:prstClr>
                </a:solidFill>
              </a:rPr>
              <a:pPr defTabSz="914260" hangingPunct="1"/>
              <a:t>2/15/2021</a:t>
            </a:fld>
            <a:endParaRPr lang="en-US" kern="12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60" hangingPunct="1"/>
            <a:endParaRPr lang="en-US" kern="12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60" hangingPunct="1"/>
            <a:fld id="{AB27A2A4-8B22-45DF-BF96-33C6715BEF74}" type="slidenum">
              <a:rPr lang="en-US" kern="1200" smtClean="0">
                <a:solidFill>
                  <a:prstClr val="black">
                    <a:tint val="75000"/>
                  </a:prstClr>
                </a:solidFill>
              </a:rPr>
              <a:pPr defTabSz="914260" hangingPunct="1"/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257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2" r:id="rId5"/>
    <p:sldLayoutId id="2147483705" r:id="rId6"/>
  </p:sldLayoutIdLst>
  <p:hf hdr="0" ft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hangingPunct="1"/>
            <a:fld id="{CF24F57A-27BB-4BB5-84DA-9373283FA74E}" type="datetimeFigureOut">
              <a:rPr lang="en-US" kern="1200" smtClean="0">
                <a:solidFill>
                  <a:prstClr val="white">
                    <a:tint val="75000"/>
                  </a:prstClr>
                </a:solidFill>
              </a:rPr>
              <a:pPr defTabSz="457200" hangingPunct="1"/>
              <a:t>2/15/2021</a:t>
            </a:fld>
            <a:endParaRPr lang="en-US" kern="120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hangingPunct="1"/>
            <a:endParaRPr lang="en-US" kern="120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hangingPunct="1"/>
            <a:fld id="{55A117D2-61C8-4DFE-A442-64E41235F09B}" type="slidenum">
              <a:rPr lang="en-US" kern="1200" smtClean="0">
                <a:solidFill>
                  <a:prstClr val="white">
                    <a:tint val="75000"/>
                  </a:prstClr>
                </a:solidFill>
              </a:rPr>
              <a:pPr defTabSz="457200" hangingPunct="1"/>
              <a:t>‹#›</a:t>
            </a:fld>
            <a:endParaRPr lang="en-US" kern="120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4098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59182" y="2415954"/>
            <a:ext cx="9535006" cy="4539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50" b="0" i="0">
                <a:solidFill>
                  <a:srgbClr val="1C1C1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59183" y="2214788"/>
            <a:ext cx="1107363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hangingPunct="1"/>
            <a:endParaRPr kern="12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hangingPunct="1"/>
            <a:fld id="{1D8BD707-D9CF-40AE-B4C6-C98DA3205C09}" type="datetimeFigureOut">
              <a:rPr lang="en-US" kern="1200">
                <a:solidFill>
                  <a:prstClr val="black">
                    <a:tint val="75000"/>
                  </a:prstClr>
                </a:solidFill>
              </a:rPr>
              <a:pPr defTabSz="914400" hangingPunct="1"/>
              <a:t>2/15/2021</a:t>
            </a:fld>
            <a:endParaRPr lang="en-US" kern="12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02580" y="5586554"/>
            <a:ext cx="190115" cy="1159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50" b="0" i="0">
                <a:solidFill>
                  <a:srgbClr val="1C1C1A"/>
                </a:solidFill>
                <a:latin typeface="Arial"/>
                <a:cs typeface="Arial"/>
              </a:defRPr>
            </a:lvl1pPr>
          </a:lstStyle>
          <a:p>
            <a:pPr marL="26670" defTabSz="914400" hangingPunct="1">
              <a:spcBef>
                <a:spcPts val="20"/>
              </a:spcBef>
            </a:pPr>
            <a:fld id="{81D60167-4931-47E6-BA6A-407CBD079E47}" type="slidenum">
              <a:rPr kern="1200" spc="-5" dirty="0"/>
              <a:pPr marL="26670" defTabSz="914400" hangingPunct="1">
                <a:spcBef>
                  <a:spcPts val="20"/>
                </a:spcBef>
              </a:pPr>
              <a:t>‹#›</a:t>
            </a:fld>
            <a:endParaRPr kern="1200" spc="-5" dirty="0"/>
          </a:p>
        </p:txBody>
      </p:sp>
    </p:spTree>
    <p:extLst>
      <p:ext uri="{BB962C8B-B14F-4D97-AF65-F5344CB8AC3E}">
        <p14:creationId xmlns:p14="http://schemas.microsoft.com/office/powerpoint/2010/main" val="3377941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40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27.jpg"/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43.jpeg"/><Relationship Id="rId12" Type="http://schemas.openxmlformats.org/officeDocument/2006/relationships/image" Target="../media/image48.png"/><Relationship Id="rId17" Type="http://schemas.openxmlformats.org/officeDocument/2006/relationships/image" Target="../media/image53.png"/><Relationship Id="rId2" Type="http://schemas.openxmlformats.org/officeDocument/2006/relationships/tags" Target="../tags/tag1.xml"/><Relationship Id="rId16" Type="http://schemas.openxmlformats.org/officeDocument/2006/relationships/image" Target="../media/image52.emf"/><Relationship Id="rId1" Type="http://schemas.openxmlformats.org/officeDocument/2006/relationships/vmlDrawing" Target="../drawings/vmlDrawing1.v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emf"/><Relationship Id="rId15" Type="http://schemas.openxmlformats.org/officeDocument/2006/relationships/image" Target="../media/image51.png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5.png"/><Relationship Id="rId14" Type="http://schemas.openxmlformats.org/officeDocument/2006/relationships/image" Target="../media/image5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68.pn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12" Type="http://schemas.openxmlformats.org/officeDocument/2006/relationships/image" Target="../media/image27.jp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63.png"/><Relationship Id="rId11" Type="http://schemas.openxmlformats.org/officeDocument/2006/relationships/image" Target="../media/image67.png"/><Relationship Id="rId5" Type="http://schemas.openxmlformats.org/officeDocument/2006/relationships/image" Target="../media/image62.png"/><Relationship Id="rId10" Type="http://schemas.openxmlformats.org/officeDocument/2006/relationships/image" Target="../media/image66.png"/><Relationship Id="rId4" Type="http://schemas.openxmlformats.org/officeDocument/2006/relationships/image" Target="../media/image61.png"/><Relationship Id="rId9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27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72.jp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71.jpg"/><Relationship Id="rId5" Type="http://schemas.openxmlformats.org/officeDocument/2006/relationships/image" Target="../media/image27.jpg"/><Relationship Id="rId4" Type="http://schemas.openxmlformats.org/officeDocument/2006/relationships/image" Target="../media/image6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jpg"/><Relationship Id="rId13" Type="http://schemas.openxmlformats.org/officeDocument/2006/relationships/image" Target="../media/image85.png"/><Relationship Id="rId18" Type="http://schemas.openxmlformats.org/officeDocument/2006/relationships/image" Target="../media/image90.png"/><Relationship Id="rId26" Type="http://schemas.openxmlformats.org/officeDocument/2006/relationships/image" Target="../media/image98.jpg"/><Relationship Id="rId3" Type="http://schemas.openxmlformats.org/officeDocument/2006/relationships/image" Target="../media/image75.png"/><Relationship Id="rId21" Type="http://schemas.openxmlformats.org/officeDocument/2006/relationships/image" Target="../media/image93.png"/><Relationship Id="rId7" Type="http://schemas.openxmlformats.org/officeDocument/2006/relationships/image" Target="../media/image79.jpg"/><Relationship Id="rId12" Type="http://schemas.openxmlformats.org/officeDocument/2006/relationships/image" Target="../media/image84.png"/><Relationship Id="rId17" Type="http://schemas.openxmlformats.org/officeDocument/2006/relationships/image" Target="../media/image89.png"/><Relationship Id="rId25" Type="http://schemas.openxmlformats.org/officeDocument/2006/relationships/image" Target="../media/image97.png"/><Relationship Id="rId2" Type="http://schemas.openxmlformats.org/officeDocument/2006/relationships/image" Target="../media/image74.png"/><Relationship Id="rId16" Type="http://schemas.openxmlformats.org/officeDocument/2006/relationships/image" Target="../media/image88.png"/><Relationship Id="rId20" Type="http://schemas.openxmlformats.org/officeDocument/2006/relationships/image" Target="../media/image92.jpg"/><Relationship Id="rId29" Type="http://schemas.openxmlformats.org/officeDocument/2006/relationships/image" Target="../media/image101.jp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78.jpg"/><Relationship Id="rId11" Type="http://schemas.openxmlformats.org/officeDocument/2006/relationships/image" Target="../media/image83.jpg"/><Relationship Id="rId24" Type="http://schemas.openxmlformats.org/officeDocument/2006/relationships/image" Target="../media/image96.jpg"/><Relationship Id="rId5" Type="http://schemas.openxmlformats.org/officeDocument/2006/relationships/image" Target="../media/image77.png"/><Relationship Id="rId15" Type="http://schemas.openxmlformats.org/officeDocument/2006/relationships/image" Target="../media/image87.png"/><Relationship Id="rId23" Type="http://schemas.openxmlformats.org/officeDocument/2006/relationships/image" Target="../media/image95.png"/><Relationship Id="rId28" Type="http://schemas.openxmlformats.org/officeDocument/2006/relationships/image" Target="../media/image100.jpg"/><Relationship Id="rId10" Type="http://schemas.openxmlformats.org/officeDocument/2006/relationships/image" Target="../media/image82.jpg"/><Relationship Id="rId19" Type="http://schemas.openxmlformats.org/officeDocument/2006/relationships/image" Target="../media/image91.png"/><Relationship Id="rId31" Type="http://schemas.openxmlformats.org/officeDocument/2006/relationships/image" Target="../media/image27.jpg"/><Relationship Id="rId4" Type="http://schemas.openxmlformats.org/officeDocument/2006/relationships/image" Target="../media/image76.png"/><Relationship Id="rId9" Type="http://schemas.openxmlformats.org/officeDocument/2006/relationships/image" Target="../media/image81.jpg"/><Relationship Id="rId14" Type="http://schemas.openxmlformats.org/officeDocument/2006/relationships/image" Target="../media/image86.png"/><Relationship Id="rId22" Type="http://schemas.openxmlformats.org/officeDocument/2006/relationships/image" Target="../media/image94.jpg"/><Relationship Id="rId27" Type="http://schemas.openxmlformats.org/officeDocument/2006/relationships/image" Target="../media/image99.png"/><Relationship Id="rId30" Type="http://schemas.openxmlformats.org/officeDocument/2006/relationships/image" Target="../media/image10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3.jp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27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10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110.png"/><Relationship Id="rId5" Type="http://schemas.openxmlformats.org/officeDocument/2006/relationships/image" Target="../media/image109.jpeg"/><Relationship Id="rId4" Type="http://schemas.openxmlformats.org/officeDocument/2006/relationships/image" Target="../media/image108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19" Type="http://schemas.openxmlformats.org/officeDocument/2006/relationships/image" Target="../media/image27.jp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1.jpe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" name="Picture Placeholder 15" descr="Picture Placeholder 15"/>
          <p:cNvPicPr>
            <a:picLocks noGrp="1" noChangeAspect="1"/>
          </p:cNvPicPr>
          <p:nvPr>
            <p:ph type="pic" idx="13"/>
          </p:nvPr>
        </p:nvPicPr>
        <p:blipFill>
          <a:blip r:embed="rId3"/>
          <a:srcRect t="12500" b="12500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513" name="Freeform 6"/>
          <p:cNvSpPr/>
          <p:nvPr/>
        </p:nvSpPr>
        <p:spPr>
          <a:xfrm>
            <a:off x="0" y="10663"/>
            <a:ext cx="10632632" cy="6858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705" y="0"/>
                </a:moveTo>
                <a:lnTo>
                  <a:pt x="21600" y="0"/>
                </a:lnTo>
                <a:lnTo>
                  <a:pt x="6450" y="21600"/>
                </a:lnTo>
                <a:lnTo>
                  <a:pt x="0" y="21600"/>
                </a:lnTo>
                <a:lnTo>
                  <a:pt x="0" y="8088"/>
                </a:lnTo>
                <a:lnTo>
                  <a:pt x="1570" y="585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2" tIns="45712" rIns="45712" bIns="45712" anchor="ctr"/>
          <a:lstStyle/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  <a:p>
            <a:pPr algn="ctr" defTabSz="424111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32322"/>
              </a:solidFill>
              <a:latin typeface="Roboto Light"/>
            </a:endParaRPr>
          </a:p>
        </p:txBody>
      </p:sp>
      <p:sp>
        <p:nvSpPr>
          <p:cNvPr id="514" name="Parallelogram 8"/>
          <p:cNvSpPr/>
          <p:nvPr/>
        </p:nvSpPr>
        <p:spPr>
          <a:xfrm>
            <a:off x="3172694" y="10663"/>
            <a:ext cx="7910952" cy="6858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0340" y="0"/>
                </a:lnTo>
                <a:lnTo>
                  <a:pt x="21600" y="0"/>
                </a:lnTo>
                <a:lnTo>
                  <a:pt x="1260" y="2160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12700">
            <a:miter lim="400000"/>
          </a:ln>
        </p:spPr>
        <p:txBody>
          <a:bodyPr lIns="45712" tIns="45712" rIns="45712" bIns="45712" anchor="ctr"/>
          <a:lstStyle/>
          <a:p>
            <a:pPr algn="ctr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Roboto Light"/>
              </a:defRPr>
            </a:pPr>
            <a:endParaRPr/>
          </a:p>
        </p:txBody>
      </p:sp>
      <p:sp>
        <p:nvSpPr>
          <p:cNvPr id="515" name="TextBox 9"/>
          <p:cNvSpPr txBox="1"/>
          <p:nvPr/>
        </p:nvSpPr>
        <p:spPr>
          <a:xfrm>
            <a:off x="1316603" y="2362200"/>
            <a:ext cx="4671459" cy="12003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2" tIns="45712" rIns="45712" bIns="45712">
            <a:spAutoFit/>
          </a:bodyPr>
          <a:lstStyle/>
          <a:p>
            <a:pPr algn="ctr">
              <a:defRPr sz="6000">
                <a:solidFill>
                  <a:srgbClr val="4C2176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sz="4000" dirty="0">
                <a:solidFill>
                  <a:srgbClr val="4C2176"/>
                </a:solidFill>
                <a:latin typeface="Roboto Slab Regular"/>
                <a:ea typeface="Roboto Slab Regular"/>
                <a:cs typeface="Roboto Slab Regular"/>
              </a:rPr>
              <a:t>ITU-D Talks</a:t>
            </a:r>
          </a:p>
          <a:p>
            <a:pPr algn="ctr">
              <a:defRPr sz="6000">
                <a:solidFill>
                  <a:srgbClr val="4C2176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sz="3200" dirty="0">
                <a:solidFill>
                  <a:srgbClr val="4C2176"/>
                </a:solidFill>
                <a:latin typeface="Roboto Slab Regular"/>
                <a:ea typeface="Roboto Slab Regular"/>
                <a:cs typeface="Roboto Slab Regular"/>
              </a:rPr>
              <a:t>OGERO Contribution</a:t>
            </a:r>
            <a:endParaRPr sz="3200" dirty="0">
              <a:solidFill>
                <a:srgbClr val="4C2176"/>
              </a:solidFill>
              <a:latin typeface="Roboto Slab Regular"/>
              <a:ea typeface="Roboto Slab Regular"/>
              <a:cs typeface="Roboto Slab Regular"/>
            </a:endParaRPr>
          </a:p>
        </p:txBody>
      </p:sp>
      <p:pic>
        <p:nvPicPr>
          <p:cNvPr id="517" name="Picture 17" descr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62273" y="5759024"/>
            <a:ext cx="1995101" cy="829723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2"/>
          </p:nvPr>
        </p:nvSpPr>
        <p:spPr>
          <a:xfrm>
            <a:off x="5810787" y="6244531"/>
            <a:ext cx="177275" cy="276983"/>
          </a:xfrm>
        </p:spPr>
        <p:txBody>
          <a:bodyPr/>
          <a:lstStyle/>
          <a:p>
            <a:fld id="{86CB4B4D-7CA3-9044-876B-883B54F8677D}" type="slidenum">
              <a:rPr lang="en-US" smtClean="0"/>
              <a:t>1</a:t>
            </a:fld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304801" y="5407480"/>
            <a:ext cx="3877295" cy="9848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6" tIns="45716" rIns="45716" bIns="45716" numCol="1" spcCol="38098" rtlCol="0" anchor="t">
            <a:spAutoFit/>
          </a:bodyPr>
          <a:lstStyle/>
          <a:p>
            <a:pPr algn="ctr">
              <a:defRPr sz="6000">
                <a:solidFill>
                  <a:srgbClr val="4C2176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altLang="en-US" sz="2000" dirty="0">
                <a:solidFill>
                  <a:srgbClr val="4C2176"/>
                </a:solidFill>
                <a:latin typeface="Roboto Slab Regular"/>
              </a:rPr>
              <a:t>Dr. Imad Abou Rached</a:t>
            </a:r>
          </a:p>
          <a:p>
            <a:pPr algn="ctr">
              <a:defRPr sz="6000">
                <a:solidFill>
                  <a:srgbClr val="4C2176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altLang="en-US" sz="2000" dirty="0">
                <a:solidFill>
                  <a:srgbClr val="4C2176"/>
                </a:solidFill>
                <a:latin typeface="Roboto Slab Regular"/>
              </a:rPr>
              <a:t>February 2021</a:t>
            </a:r>
          </a:p>
          <a:p>
            <a:pPr defTabSz="914363"/>
            <a:endParaRPr lang="en-US" dirty="0"/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07346" y="374249"/>
            <a:ext cx="8749801" cy="46177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5000" dirty="0">
                <a:solidFill>
                  <a:srgbClr val="A7D48D"/>
                </a:solidFill>
                <a:latin typeface="DIN Condensed Bold"/>
                <a:cs typeface="DIN Condensed Bold"/>
              </a:rPr>
              <a:t>INTERNET OF THING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5604" y="5816481"/>
            <a:ext cx="1011945" cy="7002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1678" y="5683147"/>
            <a:ext cx="676607" cy="890374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89280" y="1049247"/>
            <a:ext cx="9011920" cy="55053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en-US" kern="1200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449302"/>
            <a:ext cx="12187821" cy="798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4004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143704"/>
              </p:ext>
            </p:extLst>
          </p:nvPr>
        </p:nvGraphicFramePr>
        <p:xfrm>
          <a:off x="2119" y="1905"/>
          <a:ext cx="2118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9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905"/>
                        <a:ext cx="2118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Freeform: Shape 111">
            <a:extLst>
              <a:ext uri="{FF2B5EF4-FFF2-40B4-BE49-F238E27FC236}">
                <a16:creationId xmlns:a16="http://schemas.microsoft.com/office/drawing/2014/main" id="{757583BF-B86D-4C24-A140-54BA4535AB58}"/>
              </a:ext>
            </a:extLst>
          </p:cNvPr>
          <p:cNvSpPr/>
          <p:nvPr/>
        </p:nvSpPr>
        <p:spPr>
          <a:xfrm>
            <a:off x="1752602" y="-5591"/>
            <a:ext cx="7414171" cy="655382"/>
          </a:xfrm>
          <a:custGeom>
            <a:avLst/>
            <a:gdLst>
              <a:gd name="connsiteX0" fmla="*/ 3701 w 9245158"/>
              <a:gd name="connsiteY0" fmla="*/ 0 h 952198"/>
              <a:gd name="connsiteX1" fmla="*/ 9241457 w 9245158"/>
              <a:gd name="connsiteY1" fmla="*/ 0 h 952198"/>
              <a:gd name="connsiteX2" fmla="*/ 9245158 w 9245158"/>
              <a:gd name="connsiteY2" fmla="*/ 29224 h 952198"/>
              <a:gd name="connsiteX3" fmla="*/ 4622579 w 9245158"/>
              <a:gd name="connsiteY3" fmla="*/ 952198 h 952198"/>
              <a:gd name="connsiteX4" fmla="*/ 0 w 9245158"/>
              <a:gd name="connsiteY4" fmla="*/ 29224 h 952198"/>
              <a:gd name="connsiteX5" fmla="*/ 3701 w 9245158"/>
              <a:gd name="connsiteY5" fmla="*/ 0 h 952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45158" h="952198">
                <a:moveTo>
                  <a:pt x="3701" y="0"/>
                </a:moveTo>
                <a:lnTo>
                  <a:pt x="9241457" y="0"/>
                </a:lnTo>
                <a:lnTo>
                  <a:pt x="9245158" y="29224"/>
                </a:lnTo>
                <a:cubicBezTo>
                  <a:pt x="9245158" y="538968"/>
                  <a:pt x="7175559" y="952198"/>
                  <a:pt x="4622579" y="952198"/>
                </a:cubicBezTo>
                <a:cubicBezTo>
                  <a:pt x="2069599" y="952198"/>
                  <a:pt x="0" y="538968"/>
                  <a:pt x="0" y="29224"/>
                </a:cubicBezTo>
                <a:lnTo>
                  <a:pt x="3701" y="0"/>
                </a:lnTo>
                <a:close/>
              </a:path>
            </a:pathLst>
          </a:custGeom>
          <a:gradFill flip="none" rotWithShape="1">
            <a:gsLst>
              <a:gs pos="0">
                <a:srgbClr val="FF0000"/>
              </a:gs>
              <a:gs pos="100000">
                <a:srgbClr val="7030A0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rtlCol="0" anchor="ctr"/>
          <a:lstStyle/>
          <a:p>
            <a:r>
              <a:rPr lang="en-US" altLang="en-US" sz="3600" dirty="0"/>
              <a:t>              </a:t>
            </a:r>
            <a:r>
              <a:rPr lang="en-GB" sz="3600" dirty="0"/>
              <a:t>Digital Transformation</a:t>
            </a:r>
          </a:p>
        </p:txBody>
      </p:sp>
      <p:sp>
        <p:nvSpPr>
          <p:cNvPr id="89" name="Title 1"/>
          <p:cNvSpPr txBox="1">
            <a:spLocks/>
          </p:cNvSpPr>
          <p:nvPr/>
        </p:nvSpPr>
        <p:spPr>
          <a:xfrm>
            <a:off x="0" y="797124"/>
            <a:ext cx="12192000" cy="461776"/>
          </a:xfrm>
          <a:prstGeom prst="rect">
            <a:avLst/>
          </a:prstGeom>
        </p:spPr>
        <p:txBody>
          <a:bodyPr lIns="91436" tIns="45719" rIns="91436" bIns="45719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b="1" dirty="0">
                <a:solidFill>
                  <a:srgbClr val="002060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E-Country platform is a strategic measure to improve the country overall ICT capability</a:t>
            </a:r>
          </a:p>
        </p:txBody>
      </p:sp>
      <p:sp>
        <p:nvSpPr>
          <p:cNvPr id="90" name="圆角矩形 9"/>
          <p:cNvSpPr/>
          <p:nvPr/>
        </p:nvSpPr>
        <p:spPr>
          <a:xfrm>
            <a:off x="1409518" y="3027835"/>
            <a:ext cx="7417251" cy="3735461"/>
          </a:xfrm>
          <a:prstGeom prst="roundRect">
            <a:avLst>
              <a:gd name="adj" fmla="val 8384"/>
            </a:avLst>
          </a:prstGeom>
          <a:solidFill>
            <a:srgbClr val="FF9900"/>
          </a:solidFill>
          <a:ln w="25400" cap="flat" cmpd="sng" algn="ctr">
            <a:noFill/>
            <a:prstDash val="solid"/>
          </a:ln>
          <a:effectLst/>
          <a:scene3d>
            <a:camera prst="perspectiveRelaxed"/>
            <a:lightRig rig="threePt" dir="t"/>
          </a:scene3d>
          <a:sp3d extrusionH="254000"/>
        </p:spPr>
        <p:txBody>
          <a:bodyPr lIns="91436" tIns="45719" rIns="91436" bIns="45719" anchor="ctr"/>
          <a:lstStyle/>
          <a:p>
            <a:pPr algn="ctr" defTabSz="457182" hangingPunct="1">
              <a:defRPr/>
            </a:pPr>
            <a:endParaRPr lang="zh-CN" altLang="en-US" kern="1200">
              <a:solidFill>
                <a:srgbClr val="FFFFFF"/>
              </a:solidFill>
              <a:latin typeface="Calibri"/>
              <a:ea typeface="宋体"/>
            </a:endParaRPr>
          </a:p>
        </p:txBody>
      </p:sp>
      <p:sp>
        <p:nvSpPr>
          <p:cNvPr id="91" name="圆角矩形 8"/>
          <p:cNvSpPr/>
          <p:nvPr/>
        </p:nvSpPr>
        <p:spPr>
          <a:xfrm>
            <a:off x="1326990" y="2822977"/>
            <a:ext cx="7582307" cy="3679718"/>
          </a:xfrm>
          <a:prstGeom prst="roundRect">
            <a:avLst>
              <a:gd name="adj" fmla="val 8384"/>
            </a:avLst>
          </a:prstGeom>
          <a:solidFill>
            <a:srgbClr val="0099CC"/>
          </a:solidFill>
          <a:ln w="25400" cap="flat" cmpd="sng" algn="ctr">
            <a:noFill/>
            <a:prstDash val="solid"/>
          </a:ln>
          <a:effectLst/>
          <a:scene3d>
            <a:camera prst="perspectiveRelaxed"/>
            <a:lightRig rig="threePt" dir="t"/>
          </a:scene3d>
          <a:sp3d extrusionH="254000"/>
        </p:spPr>
        <p:txBody>
          <a:bodyPr lIns="91436" tIns="45719" rIns="91436" bIns="45719" anchor="ctr"/>
          <a:lstStyle/>
          <a:p>
            <a:pPr algn="ctr" defTabSz="457182" hangingPunct="1">
              <a:defRPr/>
            </a:pPr>
            <a:endParaRPr lang="zh-CN" altLang="en-US" kern="1200">
              <a:solidFill>
                <a:srgbClr val="FFFFFF"/>
              </a:solidFill>
              <a:latin typeface="Calibri"/>
              <a:ea typeface="宋体"/>
            </a:endParaRPr>
          </a:p>
        </p:txBody>
      </p:sp>
      <p:sp>
        <p:nvSpPr>
          <p:cNvPr id="92" name="圆角矩形 10"/>
          <p:cNvSpPr/>
          <p:nvPr/>
        </p:nvSpPr>
        <p:spPr>
          <a:xfrm>
            <a:off x="1234145" y="2546052"/>
            <a:ext cx="7778312" cy="3679718"/>
          </a:xfrm>
          <a:prstGeom prst="roundRect">
            <a:avLst>
              <a:gd name="adj" fmla="val 8384"/>
            </a:avLst>
          </a:prstGeom>
          <a:solidFill>
            <a:srgbClr val="669900"/>
          </a:solidFill>
          <a:ln w="25400" cap="flat" cmpd="sng" algn="ctr">
            <a:noFill/>
            <a:prstDash val="solid"/>
          </a:ln>
          <a:effectLst/>
          <a:scene3d>
            <a:camera prst="perspectiveRelaxed"/>
            <a:lightRig rig="threePt" dir="t"/>
          </a:scene3d>
          <a:sp3d extrusionH="254000"/>
        </p:spPr>
        <p:txBody>
          <a:bodyPr lIns="91436" tIns="45719" rIns="91436" bIns="45719" anchor="ctr"/>
          <a:lstStyle/>
          <a:p>
            <a:pPr algn="ctr" defTabSz="457182" hangingPunct="1">
              <a:defRPr/>
            </a:pPr>
            <a:endParaRPr lang="zh-CN" altLang="en-US" kern="1200">
              <a:solidFill>
                <a:srgbClr val="FFFFFF"/>
              </a:solidFill>
              <a:latin typeface="Calibri"/>
              <a:ea typeface="宋体"/>
            </a:endParaRPr>
          </a:p>
        </p:txBody>
      </p:sp>
      <p:pic>
        <p:nvPicPr>
          <p:cNvPr id="93" name="图片 7"/>
          <p:cNvPicPr>
            <a:picLocks noChangeAspect="1"/>
          </p:cNvPicPr>
          <p:nvPr/>
        </p:nvPicPr>
        <p:blipFill>
          <a:blip r:embed="rId6" cstate="email">
            <a:alphaModFix/>
          </a:blip>
          <a:stretch>
            <a:fillRect/>
          </a:stretch>
        </p:blipFill>
        <p:spPr>
          <a:xfrm>
            <a:off x="1316675" y="1772354"/>
            <a:ext cx="7628895" cy="4428020"/>
          </a:xfrm>
          <a:prstGeom prst="roundRect">
            <a:avLst>
              <a:gd name="adj" fmla="val 6349"/>
            </a:avLst>
          </a:prstGeom>
          <a:scene3d>
            <a:camera prst="perspectiveRelaxed"/>
            <a:lightRig rig="twoPt" dir="t"/>
          </a:scene3d>
          <a:sp3d extrusionH="63500" prstMaterial="matte"/>
        </p:spPr>
      </p:pic>
      <p:sp>
        <p:nvSpPr>
          <p:cNvPr id="94" name="Text Box 9824"/>
          <p:cNvSpPr txBox="1">
            <a:spLocks noChangeArrowheads="1"/>
          </p:cNvSpPr>
          <p:nvPr/>
        </p:nvSpPr>
        <p:spPr bwMode="auto">
          <a:xfrm>
            <a:off x="4685875" y="1883299"/>
            <a:ext cx="980027" cy="451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6" tIns="45719" rIns="91436" bIns="45719">
            <a:spAutoFit/>
          </a:bodyPr>
          <a:lstStyle/>
          <a:p>
            <a:pPr algn="ctr" defTabSz="457182" hangingPunct="1">
              <a:lnSpc>
                <a:spcPts val="1400"/>
              </a:lnSpc>
              <a:defRPr/>
            </a:pPr>
            <a:r>
              <a:rPr lang="en-US" altLang="zh-CN" sz="1300" spc="5" dirty="0">
                <a:solidFill>
                  <a:srgbClr val="3A405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mart Traffic </a:t>
            </a:r>
          </a:p>
        </p:txBody>
      </p:sp>
      <p:sp>
        <p:nvSpPr>
          <p:cNvPr id="95" name="Text Box 9824"/>
          <p:cNvSpPr txBox="1">
            <a:spLocks noChangeArrowheads="1"/>
          </p:cNvSpPr>
          <p:nvPr/>
        </p:nvSpPr>
        <p:spPr bwMode="auto">
          <a:xfrm>
            <a:off x="3473594" y="1991023"/>
            <a:ext cx="1254015" cy="271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36" tIns="45719" rIns="91436" bIns="45719">
            <a:spAutoFit/>
          </a:bodyPr>
          <a:lstStyle/>
          <a:p>
            <a:pPr algn="ctr" defTabSz="457182" hangingPunct="1">
              <a:lnSpc>
                <a:spcPts val="1400"/>
              </a:lnSpc>
              <a:defRPr/>
            </a:pPr>
            <a:r>
              <a:rPr lang="en-US" altLang="zh-CN" sz="1300" spc="5" dirty="0">
                <a:solidFill>
                  <a:srgbClr val="3A405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-Commerce</a:t>
            </a:r>
          </a:p>
        </p:txBody>
      </p:sp>
      <p:pic>
        <p:nvPicPr>
          <p:cNvPr id="96" name="Picture 95" descr="tripoli-06.jpe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317" y="2210017"/>
            <a:ext cx="8053433" cy="3622009"/>
          </a:xfrm>
          <a:prstGeom prst="roundRect">
            <a:avLst>
              <a:gd name="adj" fmla="val 8291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perspectiveRelaxedModerately"/>
            <a:lightRig rig="contrasting" dir="t">
              <a:rot lat="0" lon="0" rev="4200000"/>
            </a:lightRig>
          </a:scene3d>
          <a:sp3d prstMaterial="plastic">
            <a:bevelT w="381000" h="114300" prst="hardEdge"/>
            <a:contourClr>
              <a:srgbClr val="969696"/>
            </a:contourClr>
          </a:sp3d>
        </p:spPr>
      </p:pic>
      <p:sp>
        <p:nvSpPr>
          <p:cNvPr id="97" name="Text Box 9824"/>
          <p:cNvSpPr txBox="1">
            <a:spLocks noChangeArrowheads="1"/>
          </p:cNvSpPr>
          <p:nvPr/>
        </p:nvSpPr>
        <p:spPr bwMode="auto">
          <a:xfrm>
            <a:off x="7740793" y="2088244"/>
            <a:ext cx="978736" cy="451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6" tIns="45719" rIns="91436" bIns="45719">
            <a:spAutoFit/>
          </a:bodyPr>
          <a:lstStyle/>
          <a:p>
            <a:pPr algn="ctr" defTabSz="457182" hangingPunct="1">
              <a:lnSpc>
                <a:spcPts val="1400"/>
              </a:lnSpc>
              <a:defRPr/>
            </a:pPr>
            <a:r>
              <a:rPr lang="en-US" altLang="zh-CN" sz="1300" spc="5" dirty="0">
                <a:solidFill>
                  <a:srgbClr val="3A4056"/>
                </a:solidFill>
                <a:latin typeface="Microsoft YaHei"/>
                <a:cs typeface="Microsoft YaHei"/>
              </a:rPr>
              <a:t>Civilian Service</a:t>
            </a:r>
          </a:p>
        </p:txBody>
      </p:sp>
      <p:sp>
        <p:nvSpPr>
          <p:cNvPr id="98" name="Text Box 9824"/>
          <p:cNvSpPr txBox="1">
            <a:spLocks noChangeArrowheads="1"/>
          </p:cNvSpPr>
          <p:nvPr/>
        </p:nvSpPr>
        <p:spPr bwMode="auto">
          <a:xfrm>
            <a:off x="6902593" y="1964837"/>
            <a:ext cx="1049192" cy="379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36" tIns="45719" rIns="91436" bIns="45719">
            <a:spAutoFit/>
          </a:bodyPr>
          <a:lstStyle/>
          <a:p>
            <a:pPr algn="ctr" defTabSz="457182" hangingPunct="1">
              <a:lnSpc>
                <a:spcPts val="1100"/>
              </a:lnSpc>
              <a:defRPr/>
            </a:pPr>
            <a:r>
              <a:rPr lang="en-US" altLang="zh-CN" sz="1200" spc="5" dirty="0">
                <a:solidFill>
                  <a:srgbClr val="3A405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-Tourism</a:t>
            </a:r>
          </a:p>
          <a:p>
            <a:pPr algn="ctr" defTabSz="457182" hangingPunct="1">
              <a:lnSpc>
                <a:spcPts val="1100"/>
              </a:lnSpc>
              <a:defRPr/>
            </a:pPr>
            <a:endParaRPr lang="en-US" altLang="zh-CN" sz="1200" dirty="0">
              <a:solidFill>
                <a:srgbClr val="9BBB59">
                  <a:lumMod val="50000"/>
                </a:srgbClr>
              </a:solidFill>
              <a:latin typeface="Aileron"/>
              <a:cs typeface="Aileron"/>
            </a:endParaRPr>
          </a:p>
        </p:txBody>
      </p:sp>
      <p:sp>
        <p:nvSpPr>
          <p:cNvPr id="99" name="Text Box 9824"/>
          <p:cNvSpPr txBox="1">
            <a:spLocks noChangeArrowheads="1"/>
          </p:cNvSpPr>
          <p:nvPr/>
        </p:nvSpPr>
        <p:spPr bwMode="auto">
          <a:xfrm>
            <a:off x="507347" y="1934031"/>
            <a:ext cx="1222719" cy="271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36" tIns="45719" rIns="91436" bIns="45719">
            <a:spAutoFit/>
          </a:bodyPr>
          <a:lstStyle/>
          <a:p>
            <a:pPr algn="ctr" defTabSz="457182" hangingPunct="1">
              <a:lnSpc>
                <a:spcPts val="1400"/>
              </a:lnSpc>
              <a:defRPr/>
            </a:pPr>
            <a:r>
              <a:rPr lang="en-US" altLang="zh-CN" sz="1300" spc="5" dirty="0">
                <a:solidFill>
                  <a:srgbClr val="3A405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-Education</a:t>
            </a:r>
          </a:p>
        </p:txBody>
      </p:sp>
      <p:sp>
        <p:nvSpPr>
          <p:cNvPr id="100" name="Text Box 9824"/>
          <p:cNvSpPr txBox="1">
            <a:spLocks noChangeArrowheads="1"/>
          </p:cNvSpPr>
          <p:nvPr/>
        </p:nvSpPr>
        <p:spPr bwMode="auto">
          <a:xfrm>
            <a:off x="1492393" y="1837134"/>
            <a:ext cx="1288861" cy="271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36" tIns="45719" rIns="91436" bIns="45719">
            <a:spAutoFit/>
          </a:bodyPr>
          <a:lstStyle/>
          <a:p>
            <a:pPr algn="ctr" defTabSz="457182" hangingPunct="1">
              <a:lnSpc>
                <a:spcPts val="1400"/>
              </a:lnSpc>
              <a:defRPr/>
            </a:pPr>
            <a:r>
              <a:rPr lang="en-US" altLang="zh-CN" sz="1300" spc="5" dirty="0">
                <a:solidFill>
                  <a:srgbClr val="3A405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-Healthcare</a:t>
            </a:r>
          </a:p>
        </p:txBody>
      </p:sp>
      <p:sp>
        <p:nvSpPr>
          <p:cNvPr id="101" name="Text Box 9824"/>
          <p:cNvSpPr txBox="1">
            <a:spLocks noChangeArrowheads="1"/>
          </p:cNvSpPr>
          <p:nvPr/>
        </p:nvSpPr>
        <p:spPr bwMode="auto">
          <a:xfrm>
            <a:off x="5691697" y="1868946"/>
            <a:ext cx="1331235" cy="451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36" tIns="45719" rIns="91436" bIns="45719">
            <a:spAutoFit/>
          </a:bodyPr>
          <a:lstStyle/>
          <a:p>
            <a:pPr algn="ctr" defTabSz="457182" hangingPunct="1">
              <a:lnSpc>
                <a:spcPts val="1400"/>
              </a:lnSpc>
              <a:defRPr/>
            </a:pPr>
            <a:r>
              <a:rPr lang="en-US" altLang="zh-CN" sz="1300" spc="5" dirty="0">
                <a:solidFill>
                  <a:srgbClr val="3A405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ublic  Security</a:t>
            </a:r>
          </a:p>
        </p:txBody>
      </p:sp>
      <p:sp>
        <p:nvSpPr>
          <p:cNvPr id="102" name="Text Box 9824"/>
          <p:cNvSpPr txBox="1">
            <a:spLocks noChangeArrowheads="1"/>
          </p:cNvSpPr>
          <p:nvPr/>
        </p:nvSpPr>
        <p:spPr bwMode="auto">
          <a:xfrm>
            <a:off x="2563138" y="1808667"/>
            <a:ext cx="1008011" cy="451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36" tIns="45719" rIns="91436" bIns="45719">
            <a:spAutoFit/>
          </a:bodyPr>
          <a:lstStyle/>
          <a:p>
            <a:pPr algn="ctr" defTabSz="457182" hangingPunct="1">
              <a:lnSpc>
                <a:spcPts val="1400"/>
              </a:lnSpc>
              <a:defRPr/>
            </a:pPr>
            <a:r>
              <a:rPr lang="en-US" altLang="zh-CN" sz="1300" spc="5" dirty="0">
                <a:solidFill>
                  <a:srgbClr val="3A405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igital Zone</a:t>
            </a:r>
          </a:p>
        </p:txBody>
      </p:sp>
      <p:sp>
        <p:nvSpPr>
          <p:cNvPr id="103" name="Text Box 9824"/>
          <p:cNvSpPr txBox="1">
            <a:spLocks noChangeArrowheads="1"/>
          </p:cNvSpPr>
          <p:nvPr/>
        </p:nvSpPr>
        <p:spPr bwMode="auto">
          <a:xfrm>
            <a:off x="8578992" y="2222601"/>
            <a:ext cx="1403208" cy="271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36" tIns="45719" rIns="91436" bIns="45719">
            <a:spAutoFit/>
          </a:bodyPr>
          <a:lstStyle/>
          <a:p>
            <a:pPr algn="ctr" defTabSz="457182" hangingPunct="1">
              <a:lnSpc>
                <a:spcPts val="1400"/>
              </a:lnSpc>
              <a:defRPr/>
            </a:pPr>
            <a:r>
              <a:rPr lang="en-US" altLang="zh-CN" sz="1300" spc="5" dirty="0">
                <a:solidFill>
                  <a:srgbClr val="3A4056"/>
                </a:solidFill>
                <a:latin typeface="Microsoft YaHei"/>
                <a:cs typeface="Microsoft YaHei"/>
              </a:rPr>
              <a:t>e- Agriculture</a:t>
            </a:r>
          </a:p>
        </p:txBody>
      </p:sp>
      <p:cxnSp>
        <p:nvCxnSpPr>
          <p:cNvPr id="104" name="肘形连接符 21"/>
          <p:cNvCxnSpPr/>
          <p:nvPr/>
        </p:nvCxnSpPr>
        <p:spPr>
          <a:xfrm rot="5400000">
            <a:off x="4367703" y="3348244"/>
            <a:ext cx="1512000" cy="0"/>
          </a:xfrm>
          <a:prstGeom prst="bentConnector3">
            <a:avLst>
              <a:gd name="adj1" fmla="val 100048"/>
            </a:avLst>
          </a:prstGeom>
          <a:noFill/>
          <a:ln w="19050" cap="flat" cmpd="sng" algn="ctr">
            <a:solidFill>
              <a:srgbClr val="FF9900"/>
            </a:solidFill>
            <a:prstDash val="solid"/>
            <a:tailEnd type="oval" w="med" len="med"/>
          </a:ln>
          <a:effectLst/>
        </p:spPr>
      </p:cxnSp>
      <p:cxnSp>
        <p:nvCxnSpPr>
          <p:cNvPr id="105" name="肘形连接符 31"/>
          <p:cNvCxnSpPr>
            <a:endCxn id="119" idx="0"/>
          </p:cNvCxnSpPr>
          <p:nvPr/>
        </p:nvCxnSpPr>
        <p:spPr>
          <a:xfrm rot="5400000">
            <a:off x="2469828" y="3169749"/>
            <a:ext cx="1207336" cy="36179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9900"/>
            </a:solidFill>
            <a:prstDash val="solid"/>
            <a:tailEnd type="oval" w="med" len="med"/>
          </a:ln>
          <a:effectLst/>
        </p:spPr>
      </p:cxnSp>
      <p:cxnSp>
        <p:nvCxnSpPr>
          <p:cNvPr id="106" name="肘形连接符 35"/>
          <p:cNvCxnSpPr/>
          <p:nvPr/>
        </p:nvCxnSpPr>
        <p:spPr>
          <a:xfrm rot="5400000">
            <a:off x="3593479" y="3133437"/>
            <a:ext cx="1080000" cy="10316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9900"/>
            </a:solidFill>
            <a:prstDash val="solid"/>
            <a:tailEnd type="oval" w="med" len="med"/>
          </a:ln>
          <a:effectLst/>
        </p:spPr>
      </p:cxnSp>
      <p:cxnSp>
        <p:nvCxnSpPr>
          <p:cNvPr id="107" name="肘形连接符 36"/>
          <p:cNvCxnSpPr/>
          <p:nvPr/>
        </p:nvCxnSpPr>
        <p:spPr>
          <a:xfrm rot="16200000" flipH="1">
            <a:off x="2143499" y="2748603"/>
            <a:ext cx="587467" cy="251813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9900"/>
            </a:solidFill>
            <a:prstDash val="solid"/>
            <a:tailEnd type="oval" w="med" len="med"/>
          </a:ln>
          <a:effectLst/>
        </p:spPr>
      </p:cxnSp>
      <p:cxnSp>
        <p:nvCxnSpPr>
          <p:cNvPr id="108" name="肘形连接符 39"/>
          <p:cNvCxnSpPr/>
          <p:nvPr/>
        </p:nvCxnSpPr>
        <p:spPr>
          <a:xfrm rot="16200000" flipH="1">
            <a:off x="1015220" y="2727342"/>
            <a:ext cx="593998" cy="287811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9900"/>
            </a:solidFill>
            <a:prstDash val="solid"/>
            <a:tailEnd type="oval" w="med" len="med"/>
          </a:ln>
          <a:effectLst/>
        </p:spPr>
      </p:cxnSp>
      <p:cxnSp>
        <p:nvCxnSpPr>
          <p:cNvPr id="109" name="肘形连接符 44"/>
          <p:cNvCxnSpPr/>
          <p:nvPr/>
        </p:nvCxnSpPr>
        <p:spPr>
          <a:xfrm rot="5400000">
            <a:off x="5796457" y="3030615"/>
            <a:ext cx="1000865" cy="124132"/>
          </a:xfrm>
          <a:prstGeom prst="bentConnector3">
            <a:avLst>
              <a:gd name="adj1" fmla="val 99833"/>
            </a:avLst>
          </a:prstGeom>
          <a:noFill/>
          <a:ln w="19050" cap="flat" cmpd="sng" algn="ctr">
            <a:solidFill>
              <a:srgbClr val="FF9900"/>
            </a:solidFill>
            <a:prstDash val="solid"/>
            <a:tailEnd type="oval" w="med" len="med"/>
          </a:ln>
          <a:effectLst/>
        </p:spPr>
      </p:cxnSp>
      <p:cxnSp>
        <p:nvCxnSpPr>
          <p:cNvPr id="110" name="肘形连接符 54"/>
          <p:cNvCxnSpPr/>
          <p:nvPr/>
        </p:nvCxnSpPr>
        <p:spPr>
          <a:xfrm rot="5400000">
            <a:off x="6943741" y="2515820"/>
            <a:ext cx="468000" cy="584848"/>
          </a:xfrm>
          <a:prstGeom prst="bentConnector3">
            <a:avLst>
              <a:gd name="adj1" fmla="val 100640"/>
            </a:avLst>
          </a:prstGeom>
          <a:noFill/>
          <a:ln w="19050" cap="flat" cmpd="sng" algn="ctr">
            <a:solidFill>
              <a:srgbClr val="FF9900"/>
            </a:solidFill>
            <a:prstDash val="solid"/>
            <a:tailEnd type="oval" w="med" len="med"/>
          </a:ln>
          <a:effectLst/>
        </p:spPr>
      </p:cxnSp>
      <p:cxnSp>
        <p:nvCxnSpPr>
          <p:cNvPr id="111" name="肘形连接符 57"/>
          <p:cNvCxnSpPr/>
          <p:nvPr/>
        </p:nvCxnSpPr>
        <p:spPr>
          <a:xfrm rot="10800000" flipV="1">
            <a:off x="6615008" y="2592244"/>
            <a:ext cx="1615463" cy="1199263"/>
          </a:xfrm>
          <a:prstGeom prst="bentConnector3">
            <a:avLst>
              <a:gd name="adj1" fmla="val 13980"/>
            </a:avLst>
          </a:prstGeom>
          <a:noFill/>
          <a:ln w="19050" cap="flat" cmpd="sng" algn="ctr">
            <a:solidFill>
              <a:srgbClr val="FF9900"/>
            </a:solidFill>
            <a:prstDash val="solid"/>
            <a:tailEnd type="oval" w="med" len="med"/>
          </a:ln>
          <a:effectLst/>
        </p:spPr>
      </p:cxnSp>
      <p:cxnSp>
        <p:nvCxnSpPr>
          <p:cNvPr id="112" name="肘形连接符 60"/>
          <p:cNvCxnSpPr/>
          <p:nvPr/>
        </p:nvCxnSpPr>
        <p:spPr>
          <a:xfrm rot="10800000" flipV="1">
            <a:off x="7035471" y="2538272"/>
            <a:ext cx="2235599" cy="1756816"/>
          </a:xfrm>
          <a:prstGeom prst="bentConnector3">
            <a:avLst>
              <a:gd name="adj1" fmla="val 26037"/>
            </a:avLst>
          </a:prstGeom>
          <a:noFill/>
          <a:ln w="19050" cap="flat" cmpd="sng" algn="ctr">
            <a:solidFill>
              <a:srgbClr val="FF9900"/>
            </a:solidFill>
            <a:prstDash val="solid"/>
            <a:tailEnd type="oval" w="med" len="med"/>
          </a:ln>
          <a:effectLst/>
        </p:spPr>
      </p:cxnSp>
      <p:sp>
        <p:nvSpPr>
          <p:cNvPr id="113" name="矩形 69"/>
          <p:cNvSpPr>
            <a:spLocks noChangeArrowheads="1"/>
          </p:cNvSpPr>
          <p:nvPr/>
        </p:nvSpPr>
        <p:spPr bwMode="auto">
          <a:xfrm>
            <a:off x="3921185" y="5610760"/>
            <a:ext cx="2276576" cy="30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9" rIns="91436" bIns="45719">
            <a:spAutoFit/>
          </a:bodyPr>
          <a:lstStyle/>
          <a:p>
            <a:pPr algn="ctr" defTabSz="457182" hangingPunct="1"/>
            <a:r>
              <a:rPr lang="en-US" altLang="zh-CN" sz="1400" kern="1200" dirty="0">
                <a:solidFill>
                  <a:srgbClr val="173D77"/>
                </a:solidFill>
                <a:latin typeface="Aileron"/>
                <a:cs typeface="Aileron"/>
              </a:rPr>
              <a:t>Smart City Public Platform</a:t>
            </a:r>
          </a:p>
        </p:txBody>
      </p:sp>
      <p:sp>
        <p:nvSpPr>
          <p:cNvPr id="114" name="矩形 70"/>
          <p:cNvSpPr>
            <a:spLocks noChangeArrowheads="1"/>
          </p:cNvSpPr>
          <p:nvPr/>
        </p:nvSpPr>
        <p:spPr bwMode="auto">
          <a:xfrm>
            <a:off x="3434520" y="5873461"/>
            <a:ext cx="3251202" cy="30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9" rIns="91436" bIns="45719">
            <a:spAutoFit/>
          </a:bodyPr>
          <a:lstStyle/>
          <a:p>
            <a:pPr algn="ctr" defTabSz="457182" hangingPunct="1"/>
            <a:r>
              <a:rPr lang="en-US" altLang="zh-CN" sz="1400" kern="1200" dirty="0">
                <a:solidFill>
                  <a:srgbClr val="173D77"/>
                </a:solidFill>
                <a:latin typeface="Aileron"/>
                <a:cs typeface="Aileron"/>
              </a:rPr>
              <a:t>City Data Center</a:t>
            </a:r>
            <a:r>
              <a:rPr lang="zh-CN" altLang="en-US" sz="1400" kern="1200" dirty="0">
                <a:solidFill>
                  <a:srgbClr val="173D77"/>
                </a:solidFill>
                <a:latin typeface="Aileron"/>
                <a:cs typeface="Aileron"/>
              </a:rPr>
              <a:t>（</a:t>
            </a:r>
            <a:r>
              <a:rPr lang="en-US" altLang="zh-CN" sz="1400" kern="1200" dirty="0">
                <a:solidFill>
                  <a:srgbClr val="173D77"/>
                </a:solidFill>
                <a:latin typeface="Aileron"/>
                <a:cs typeface="Aileron"/>
              </a:rPr>
              <a:t>Cloud Computing</a:t>
            </a:r>
            <a:r>
              <a:rPr lang="zh-CN" altLang="en-US" sz="1400" kern="1200" dirty="0">
                <a:solidFill>
                  <a:srgbClr val="173D77"/>
                </a:solidFill>
                <a:latin typeface="Aileron"/>
                <a:cs typeface="Aileron"/>
              </a:rPr>
              <a:t>）</a:t>
            </a:r>
          </a:p>
        </p:txBody>
      </p:sp>
      <p:sp>
        <p:nvSpPr>
          <p:cNvPr id="115" name="矩形 71"/>
          <p:cNvSpPr>
            <a:spLocks noChangeArrowheads="1"/>
          </p:cNvSpPr>
          <p:nvPr/>
        </p:nvSpPr>
        <p:spPr bwMode="auto">
          <a:xfrm>
            <a:off x="2440177" y="6140098"/>
            <a:ext cx="5239888" cy="30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9" rIns="91436" bIns="45719">
            <a:spAutoFit/>
          </a:bodyPr>
          <a:lstStyle/>
          <a:p>
            <a:pPr algn="ctr" defTabSz="457182" hangingPunct="1"/>
            <a:r>
              <a:rPr lang="en-US" altLang="zh-CN" sz="1400" kern="1200" dirty="0">
                <a:solidFill>
                  <a:srgbClr val="173D77"/>
                </a:solidFill>
                <a:latin typeface="Aileron"/>
                <a:cs typeface="Aileron"/>
              </a:rPr>
              <a:t>IT &amp; Communication Capacity. Perception</a:t>
            </a:r>
            <a:r>
              <a:rPr lang="zh-CN" altLang="en-US" sz="1400" kern="1200" dirty="0">
                <a:solidFill>
                  <a:srgbClr val="173D77"/>
                </a:solidFill>
                <a:latin typeface="Aileron"/>
                <a:cs typeface="Aileron"/>
              </a:rPr>
              <a:t>（</a:t>
            </a:r>
            <a:r>
              <a:rPr lang="en-US" altLang="zh-CN" sz="1400" kern="1200" dirty="0">
                <a:solidFill>
                  <a:srgbClr val="173D77"/>
                </a:solidFill>
                <a:latin typeface="Aileron"/>
                <a:cs typeface="Aileron"/>
              </a:rPr>
              <a:t>Internet of Things</a:t>
            </a:r>
            <a:r>
              <a:rPr lang="zh-CN" altLang="en-US" sz="1400" kern="1200" dirty="0">
                <a:solidFill>
                  <a:srgbClr val="173D77"/>
                </a:solidFill>
                <a:latin typeface="Aileron"/>
                <a:cs typeface="Aileron"/>
              </a:rPr>
              <a:t>）</a:t>
            </a:r>
          </a:p>
        </p:txBody>
      </p:sp>
      <p:pic>
        <p:nvPicPr>
          <p:cNvPr id="116" name="Picture 115" descr="School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310" y="2915226"/>
            <a:ext cx="778387" cy="778386"/>
          </a:xfrm>
          <a:prstGeom prst="rect">
            <a:avLst/>
          </a:prstGeom>
        </p:spPr>
      </p:pic>
      <p:pic>
        <p:nvPicPr>
          <p:cNvPr id="117" name="Picture 116" descr="Hospital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181" y="3217607"/>
            <a:ext cx="471718" cy="471718"/>
          </a:xfrm>
          <a:prstGeom prst="rect">
            <a:avLst/>
          </a:prstGeom>
        </p:spPr>
      </p:pic>
      <p:sp>
        <p:nvSpPr>
          <p:cNvPr id="118" name="Rectangle 117"/>
          <p:cNvSpPr/>
          <p:nvPr/>
        </p:nvSpPr>
        <p:spPr>
          <a:xfrm>
            <a:off x="2737976" y="3889831"/>
            <a:ext cx="648055" cy="495571"/>
          </a:xfrm>
          <a:prstGeom prst="rect">
            <a:avLst/>
          </a:prstGeom>
          <a:solidFill>
            <a:srgbClr val="FFFFFF">
              <a:alpha val="80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lIns="91436" tIns="45719" rIns="91436" bIns="45719" rtlCol="0" anchor="ctr"/>
          <a:lstStyle/>
          <a:p>
            <a:pPr algn="ctr" defTabSz="457182" hangingPunct="1"/>
            <a:endParaRPr lang="en-US" kern="12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9" name="Picture 118" descr="Public-Place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8460" y="3791506"/>
            <a:ext cx="593895" cy="593894"/>
          </a:xfrm>
          <a:prstGeom prst="rect">
            <a:avLst/>
          </a:prstGeom>
        </p:spPr>
      </p:pic>
      <p:sp>
        <p:nvSpPr>
          <p:cNvPr id="120" name="Rectangle 119"/>
          <p:cNvSpPr/>
          <p:nvPr/>
        </p:nvSpPr>
        <p:spPr>
          <a:xfrm>
            <a:off x="4712250" y="4161148"/>
            <a:ext cx="835743" cy="639097"/>
          </a:xfrm>
          <a:prstGeom prst="rect">
            <a:avLst/>
          </a:prstGeom>
          <a:solidFill>
            <a:srgbClr val="FFFFFF">
              <a:alpha val="80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lIns="91436" tIns="45719" rIns="91436" bIns="45719" rtlCol="0" anchor="ctr"/>
          <a:lstStyle/>
          <a:p>
            <a:pPr algn="ctr" defTabSz="457182" hangingPunct="1"/>
            <a:endParaRPr lang="en-US" kern="12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1" name="Picture 120" descr="Plane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62554" y="2626307"/>
            <a:ext cx="1294192" cy="1294190"/>
          </a:xfrm>
          <a:prstGeom prst="rect">
            <a:avLst/>
          </a:prstGeom>
        </p:spPr>
      </p:pic>
      <p:sp>
        <p:nvSpPr>
          <p:cNvPr id="122" name="Rectangle 121"/>
          <p:cNvSpPr/>
          <p:nvPr/>
        </p:nvSpPr>
        <p:spPr>
          <a:xfrm>
            <a:off x="3773249" y="3750590"/>
            <a:ext cx="660408" cy="505018"/>
          </a:xfrm>
          <a:prstGeom prst="rect">
            <a:avLst/>
          </a:prstGeom>
          <a:solidFill>
            <a:srgbClr val="FFFFFF">
              <a:alpha val="80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lIns="91436" tIns="45719" rIns="91436" bIns="45719" rtlCol="0" anchor="ctr"/>
          <a:lstStyle/>
          <a:p>
            <a:pPr algn="ctr" defTabSz="457182" hangingPunct="1"/>
            <a:endParaRPr lang="en-US" kern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6240571" y="3999721"/>
            <a:ext cx="713855" cy="545890"/>
          </a:xfrm>
          <a:prstGeom prst="rect">
            <a:avLst/>
          </a:prstGeom>
          <a:solidFill>
            <a:srgbClr val="FFFFFF">
              <a:alpha val="80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lIns="91436" tIns="45719" rIns="91436" bIns="45719" rtlCol="0" anchor="ctr"/>
          <a:lstStyle/>
          <a:p>
            <a:pPr algn="ctr" defTabSz="457182" hangingPunct="1"/>
            <a:endParaRPr lang="en-US" kern="12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4" name="Picture 123" descr="House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3343" y="4041330"/>
            <a:ext cx="454012" cy="454012"/>
          </a:xfrm>
          <a:prstGeom prst="rect">
            <a:avLst/>
          </a:prstGeom>
        </p:spPr>
      </p:pic>
      <p:pic>
        <p:nvPicPr>
          <p:cNvPr id="125" name="Picture 124" descr="Home-Entreprise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9632" y="3796205"/>
            <a:ext cx="436845" cy="436846"/>
          </a:xfrm>
          <a:prstGeom prst="rect">
            <a:avLst/>
          </a:prstGeom>
        </p:spPr>
      </p:pic>
      <p:sp>
        <p:nvSpPr>
          <p:cNvPr id="126" name="Rectangle 125"/>
          <p:cNvSpPr/>
          <p:nvPr/>
        </p:nvSpPr>
        <p:spPr>
          <a:xfrm>
            <a:off x="5398692" y="3269436"/>
            <a:ext cx="755087" cy="577420"/>
          </a:xfrm>
          <a:prstGeom prst="rect">
            <a:avLst/>
          </a:prstGeom>
          <a:solidFill>
            <a:srgbClr val="FFFFFF">
              <a:alpha val="80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lIns="91436" tIns="45719" rIns="91436" bIns="45719" rtlCol="0" anchor="ctr"/>
          <a:lstStyle/>
          <a:p>
            <a:pPr algn="ctr" defTabSz="457182" hangingPunct="1"/>
            <a:endParaRPr lang="en-US" kern="12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004283" y="4272667"/>
            <a:ext cx="246192" cy="439675"/>
          </a:xfrm>
          <a:prstGeom prst="rect">
            <a:avLst/>
          </a:prstGeom>
        </p:spPr>
      </p:pic>
      <p:pic>
        <p:nvPicPr>
          <p:cNvPr id="128" name="Picture 127" descr="Poliiiiiice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5995" y="2999384"/>
            <a:ext cx="772584" cy="772584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667118" y="3386850"/>
            <a:ext cx="360312" cy="412528"/>
          </a:xfrm>
          <a:prstGeom prst="rect">
            <a:avLst/>
          </a:prstGeom>
        </p:spPr>
      </p:pic>
      <p:sp>
        <p:nvSpPr>
          <p:cNvPr id="130" name="Rectangle 129"/>
          <p:cNvSpPr/>
          <p:nvPr/>
        </p:nvSpPr>
        <p:spPr>
          <a:xfrm>
            <a:off x="10007223" y="3168245"/>
            <a:ext cx="1422779" cy="292386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defTabSz="457182" hangingPunct="1">
              <a:defRPr/>
            </a:pPr>
            <a:r>
              <a:rPr lang="en-US" altLang="zh-CN" sz="1300" spc="5" dirty="0">
                <a:solidFill>
                  <a:srgbClr val="3A4056"/>
                </a:solidFill>
                <a:latin typeface="Microsoft YaHei"/>
                <a:cs typeface="Microsoft YaHei"/>
              </a:rPr>
              <a:t>E-government </a:t>
            </a:r>
            <a:endParaRPr lang="zh-CN" altLang="en-US" sz="1300" spc="5" dirty="0">
              <a:solidFill>
                <a:srgbClr val="3A4056"/>
              </a:solidFill>
              <a:latin typeface="Microsoft YaHei"/>
              <a:cs typeface="Microsoft YaHei"/>
            </a:endParaRPr>
          </a:p>
        </p:txBody>
      </p:sp>
      <p:pic>
        <p:nvPicPr>
          <p:cNvPr id="131" name="Picture 130" descr="Egoverment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784" y="4233051"/>
            <a:ext cx="837549" cy="837550"/>
          </a:xfrm>
          <a:prstGeom prst="rect">
            <a:avLst/>
          </a:prstGeom>
        </p:spPr>
      </p:pic>
      <p:cxnSp>
        <p:nvCxnSpPr>
          <p:cNvPr id="132" name="肘形连接符 60"/>
          <p:cNvCxnSpPr/>
          <p:nvPr/>
        </p:nvCxnSpPr>
        <p:spPr>
          <a:xfrm rot="10800000" flipV="1">
            <a:off x="8566484" y="3482247"/>
            <a:ext cx="1631807" cy="103495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9900"/>
            </a:solidFill>
            <a:prstDash val="solid"/>
            <a:tailEnd type="oval" w="med" len="med"/>
          </a:ln>
          <a:effectLst/>
        </p:spPr>
      </p:cxnSp>
      <p:sp>
        <p:nvSpPr>
          <p:cNvPr id="133" name="object 81"/>
          <p:cNvSpPr/>
          <p:nvPr/>
        </p:nvSpPr>
        <p:spPr>
          <a:xfrm>
            <a:off x="11013949" y="5992366"/>
            <a:ext cx="1159762" cy="85344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857714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111">
            <a:extLst>
              <a:ext uri="{FF2B5EF4-FFF2-40B4-BE49-F238E27FC236}">
                <a16:creationId xmlns:a16="http://schemas.microsoft.com/office/drawing/2014/main" id="{757583BF-B86D-4C24-A140-54BA4535AB58}"/>
              </a:ext>
            </a:extLst>
          </p:cNvPr>
          <p:cNvSpPr/>
          <p:nvPr/>
        </p:nvSpPr>
        <p:spPr>
          <a:xfrm>
            <a:off x="2819402" y="2"/>
            <a:ext cx="7414171" cy="622541"/>
          </a:xfrm>
          <a:custGeom>
            <a:avLst/>
            <a:gdLst>
              <a:gd name="connsiteX0" fmla="*/ 3701 w 9245158"/>
              <a:gd name="connsiteY0" fmla="*/ 0 h 952198"/>
              <a:gd name="connsiteX1" fmla="*/ 9241457 w 9245158"/>
              <a:gd name="connsiteY1" fmla="*/ 0 h 952198"/>
              <a:gd name="connsiteX2" fmla="*/ 9245158 w 9245158"/>
              <a:gd name="connsiteY2" fmla="*/ 29224 h 952198"/>
              <a:gd name="connsiteX3" fmla="*/ 4622579 w 9245158"/>
              <a:gd name="connsiteY3" fmla="*/ 952198 h 952198"/>
              <a:gd name="connsiteX4" fmla="*/ 0 w 9245158"/>
              <a:gd name="connsiteY4" fmla="*/ 29224 h 952198"/>
              <a:gd name="connsiteX5" fmla="*/ 3701 w 9245158"/>
              <a:gd name="connsiteY5" fmla="*/ 0 h 952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45158" h="952198">
                <a:moveTo>
                  <a:pt x="3701" y="0"/>
                </a:moveTo>
                <a:lnTo>
                  <a:pt x="9241457" y="0"/>
                </a:lnTo>
                <a:lnTo>
                  <a:pt x="9245158" y="29224"/>
                </a:lnTo>
                <a:cubicBezTo>
                  <a:pt x="9245158" y="538968"/>
                  <a:pt x="7175559" y="952198"/>
                  <a:pt x="4622579" y="952198"/>
                </a:cubicBezTo>
                <a:cubicBezTo>
                  <a:pt x="2069599" y="952198"/>
                  <a:pt x="0" y="538968"/>
                  <a:pt x="0" y="29224"/>
                </a:cubicBezTo>
                <a:lnTo>
                  <a:pt x="3701" y="0"/>
                </a:lnTo>
                <a:close/>
              </a:path>
            </a:pathLst>
          </a:custGeom>
          <a:gradFill flip="none" rotWithShape="1">
            <a:gsLst>
              <a:gs pos="0">
                <a:srgbClr val="FF0000"/>
              </a:gs>
              <a:gs pos="100000">
                <a:srgbClr val="6D5B97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 hangingPunct="0"/>
            <a:endParaRPr lang="en-US" kern="0" dirty="0">
              <a:solidFill>
                <a:srgbClr val="FFFFFF"/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782298" y="35626"/>
            <a:ext cx="5199867" cy="523218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kern="1200" dirty="0">
                <a:solidFill>
                  <a:schemeClr val="tx1"/>
                </a:solidFill>
              </a:rPr>
              <a:t>                  Cloud Services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3399" y="1045908"/>
            <a:ext cx="4028015" cy="4942633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144" y="2209800"/>
            <a:ext cx="6610308" cy="3445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9629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228600" y="1062014"/>
            <a:ext cx="115980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kern="1200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GERO Supercomputer will  provide  universities and R&amp;D the facilities to run their research</a:t>
            </a:r>
          </a:p>
        </p:txBody>
      </p:sp>
      <p:sp>
        <p:nvSpPr>
          <p:cNvPr id="31" name="Freeform: Shape 111">
            <a:extLst>
              <a:ext uri="{FF2B5EF4-FFF2-40B4-BE49-F238E27FC236}">
                <a16:creationId xmlns:a16="http://schemas.microsoft.com/office/drawing/2014/main" id="{757583BF-B86D-4C24-A140-54BA4535AB58}"/>
              </a:ext>
            </a:extLst>
          </p:cNvPr>
          <p:cNvSpPr/>
          <p:nvPr/>
        </p:nvSpPr>
        <p:spPr>
          <a:xfrm>
            <a:off x="2819402" y="2"/>
            <a:ext cx="7414171" cy="622541"/>
          </a:xfrm>
          <a:custGeom>
            <a:avLst/>
            <a:gdLst>
              <a:gd name="connsiteX0" fmla="*/ 3701 w 9245158"/>
              <a:gd name="connsiteY0" fmla="*/ 0 h 952198"/>
              <a:gd name="connsiteX1" fmla="*/ 9241457 w 9245158"/>
              <a:gd name="connsiteY1" fmla="*/ 0 h 952198"/>
              <a:gd name="connsiteX2" fmla="*/ 9245158 w 9245158"/>
              <a:gd name="connsiteY2" fmla="*/ 29224 h 952198"/>
              <a:gd name="connsiteX3" fmla="*/ 4622579 w 9245158"/>
              <a:gd name="connsiteY3" fmla="*/ 952198 h 952198"/>
              <a:gd name="connsiteX4" fmla="*/ 0 w 9245158"/>
              <a:gd name="connsiteY4" fmla="*/ 29224 h 952198"/>
              <a:gd name="connsiteX5" fmla="*/ 3701 w 9245158"/>
              <a:gd name="connsiteY5" fmla="*/ 0 h 952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45158" h="952198">
                <a:moveTo>
                  <a:pt x="3701" y="0"/>
                </a:moveTo>
                <a:lnTo>
                  <a:pt x="9241457" y="0"/>
                </a:lnTo>
                <a:lnTo>
                  <a:pt x="9245158" y="29224"/>
                </a:lnTo>
                <a:cubicBezTo>
                  <a:pt x="9245158" y="538968"/>
                  <a:pt x="7175559" y="952198"/>
                  <a:pt x="4622579" y="952198"/>
                </a:cubicBezTo>
                <a:cubicBezTo>
                  <a:pt x="2069599" y="952198"/>
                  <a:pt x="0" y="538968"/>
                  <a:pt x="0" y="29224"/>
                </a:cubicBezTo>
                <a:lnTo>
                  <a:pt x="3701" y="0"/>
                </a:lnTo>
                <a:close/>
              </a:path>
            </a:pathLst>
          </a:custGeom>
          <a:gradFill flip="none" rotWithShape="1">
            <a:gsLst>
              <a:gs pos="0">
                <a:srgbClr val="FF0000"/>
              </a:gs>
              <a:gs pos="100000">
                <a:srgbClr val="6D5B97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 hangingPunct="0"/>
            <a:endParaRPr lang="en-US" kern="0" dirty="0">
              <a:solidFill>
                <a:srgbClr val="FFFFFF"/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782297" y="35626"/>
            <a:ext cx="6451275" cy="523218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kern="1200" dirty="0">
                <a:solidFill>
                  <a:schemeClr val="tx1"/>
                </a:solidFill>
              </a:rPr>
              <a:t>             OGERO Supercomputer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83730"/>
            <a:ext cx="4334400" cy="387286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7186" y="2254355"/>
            <a:ext cx="5364288" cy="349143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199" y="2564078"/>
            <a:ext cx="3349139" cy="299251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7185" y="3048000"/>
            <a:ext cx="4144922" cy="2697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7414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9" name="Picture Placeholder 1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607" name="Rectangle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>
                <a:defRPr>
                  <a:latin typeface="+mj-lt"/>
                  <a:ea typeface="+mj-ea"/>
                  <a:cs typeface="+mj-cs"/>
                  <a:sym typeface="Roboto Light"/>
                </a:defRPr>
              </a:pPr>
              <a:endParaRPr/>
            </a:p>
          </p:txBody>
        </p:sp>
        <p:pic>
          <p:nvPicPr>
            <p:cNvPr id="608" name="image5.jpe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610" name="Oval 15"/>
          <p:cNvSpPr/>
          <p:nvPr/>
        </p:nvSpPr>
        <p:spPr>
          <a:xfrm>
            <a:off x="642427" y="685800"/>
            <a:ext cx="5486407" cy="5486400"/>
          </a:xfrm>
          <a:prstGeom prst="ellipse">
            <a:avLst/>
          </a:prstGeom>
          <a:solidFill>
            <a:srgbClr val="FFFFFF">
              <a:alpha val="50000"/>
            </a:srgbClr>
          </a:solidFill>
          <a:ln w="12700">
            <a:miter lim="400000"/>
          </a:ln>
        </p:spPr>
        <p:txBody>
          <a:bodyPr lIns="45712" tIns="45712" rIns="45712" bIns="45712" anchor="ctr"/>
          <a:lstStyle/>
          <a:p>
            <a:pPr algn="ctr">
              <a:defRPr sz="2400">
                <a:solidFill>
                  <a:srgbClr val="FFFFFF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11" name="Oval 26"/>
          <p:cNvSpPr/>
          <p:nvPr/>
        </p:nvSpPr>
        <p:spPr>
          <a:xfrm>
            <a:off x="881854" y="946573"/>
            <a:ext cx="5029202" cy="5029200"/>
          </a:xfrm>
          <a:prstGeom prst="ellipse">
            <a:avLst/>
          </a:prstGeom>
          <a:gradFill>
            <a:gsLst>
              <a:gs pos="0">
                <a:srgbClr val="182C87"/>
              </a:gs>
              <a:gs pos="100000">
                <a:srgbClr val="E60040"/>
              </a:gs>
            </a:gsLst>
            <a:lin ang="19860000"/>
          </a:gradFill>
          <a:ln w="12700">
            <a:miter lim="400000"/>
          </a:ln>
        </p:spPr>
        <p:txBody>
          <a:bodyPr lIns="45712" tIns="45712" rIns="45712" bIns="45712" anchor="ctr"/>
          <a:lstStyle/>
          <a:p>
            <a:pPr algn="ctr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Roboto Light"/>
              </a:defRPr>
            </a:pPr>
            <a:endParaRPr/>
          </a:p>
        </p:txBody>
      </p:sp>
      <p:sp>
        <p:nvSpPr>
          <p:cNvPr id="612" name="TextBox 4"/>
          <p:cNvSpPr txBox="1"/>
          <p:nvPr/>
        </p:nvSpPr>
        <p:spPr>
          <a:xfrm>
            <a:off x="762684" y="2743200"/>
            <a:ext cx="5529775" cy="1478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2" tIns="45712" rIns="45712" bIns="45712">
            <a:spAutoFit/>
          </a:bodyPr>
          <a:lstStyle/>
          <a:p>
            <a:pPr algn="ctr">
              <a:lnSpc>
                <a:spcPct val="150000"/>
              </a:lnSpc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altLang="en-US" sz="3200" dirty="0">
                <a:solidFill>
                  <a:srgbClr val="FFFFFF"/>
                </a:solidFill>
                <a:latin typeface="Roboto Slab Regular"/>
              </a:rPr>
              <a:t>The Pandemic Implication          on Telecom Operators</a:t>
            </a:r>
          </a:p>
        </p:txBody>
      </p:sp>
      <p:pic>
        <p:nvPicPr>
          <p:cNvPr id="8" name="Picture 7" descr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4029" y="5867402"/>
            <a:ext cx="1995101" cy="829723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2"/>
          </p:nvPr>
        </p:nvSpPr>
        <p:spPr>
          <a:xfrm>
            <a:off x="5911056" y="6278395"/>
            <a:ext cx="262235" cy="276983"/>
          </a:xfrm>
        </p:spPr>
        <p:txBody>
          <a:bodyPr/>
          <a:lstStyle/>
          <a:p>
            <a:fld id="{86CB4B4D-7CA3-9044-876B-883B54F8677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835691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3899396" y="2476716"/>
            <a:ext cx="601091" cy="6010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906523" y="2483828"/>
            <a:ext cx="522731" cy="5227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3771266" y="3047453"/>
            <a:ext cx="889000" cy="226984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>
              <a:spcBef>
                <a:spcPts val="90"/>
              </a:spcBef>
            </a:pPr>
            <a:r>
              <a:rPr sz="1400" spc="-5" dirty="0">
                <a:solidFill>
                  <a:srgbClr val="3A4056"/>
                </a:solidFill>
                <a:latin typeface="Arial"/>
                <a:cs typeface="Arial"/>
              </a:rPr>
              <a:t>Red</a:t>
            </a:r>
            <a:r>
              <a:rPr sz="1400" spc="-79" dirty="0">
                <a:solidFill>
                  <a:srgbClr val="3A4056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3A4056"/>
                </a:solidFill>
                <a:latin typeface="Arial"/>
                <a:cs typeface="Arial"/>
              </a:rPr>
              <a:t>Cross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164225" y="5199688"/>
            <a:ext cx="705189" cy="7160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257799" y="5948008"/>
            <a:ext cx="524512" cy="226984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>
              <a:spcBef>
                <a:spcPts val="90"/>
              </a:spcBef>
            </a:pPr>
            <a:r>
              <a:rPr sz="1400" spc="-10" dirty="0">
                <a:solidFill>
                  <a:srgbClr val="3A4056"/>
                </a:solidFill>
                <a:latin typeface="Arial"/>
                <a:cs typeface="Arial"/>
              </a:rPr>
              <a:t>Po</a:t>
            </a:r>
            <a:r>
              <a:rPr sz="1400" dirty="0">
                <a:solidFill>
                  <a:srgbClr val="3A4056"/>
                </a:solidFill>
                <a:latin typeface="Arial"/>
                <a:cs typeface="Arial"/>
              </a:rPr>
              <a:t>l</a:t>
            </a:r>
            <a:r>
              <a:rPr sz="1400" spc="-5" dirty="0">
                <a:solidFill>
                  <a:srgbClr val="3A4056"/>
                </a:solidFill>
                <a:latin typeface="Arial"/>
                <a:cs typeface="Arial"/>
              </a:rPr>
              <a:t>i</a:t>
            </a:r>
            <a:r>
              <a:rPr sz="1400" spc="-10" dirty="0">
                <a:solidFill>
                  <a:srgbClr val="3A4056"/>
                </a:solidFill>
                <a:latin typeface="Arial"/>
                <a:cs typeface="Arial"/>
              </a:rPr>
              <a:t>c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386837" y="4008434"/>
            <a:ext cx="609599" cy="54186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3352800" y="4538257"/>
            <a:ext cx="779781" cy="226984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>
              <a:spcBef>
                <a:spcPts val="90"/>
              </a:spcBef>
            </a:pPr>
            <a:r>
              <a:rPr sz="1400" spc="-5" dirty="0">
                <a:solidFill>
                  <a:srgbClr val="3A4056"/>
                </a:solidFill>
                <a:latin typeface="Arial"/>
                <a:cs typeface="Arial"/>
              </a:rPr>
              <a:t>Hospi</a:t>
            </a:r>
            <a:r>
              <a:rPr sz="1400" spc="-10" dirty="0">
                <a:solidFill>
                  <a:srgbClr val="3A4056"/>
                </a:solidFill>
                <a:latin typeface="Arial"/>
                <a:cs typeface="Arial"/>
              </a:rPr>
              <a:t>t</a:t>
            </a:r>
            <a:r>
              <a:rPr sz="1400" spc="-5" dirty="0">
                <a:solidFill>
                  <a:srgbClr val="3A4056"/>
                </a:solidFill>
                <a:latin typeface="Arial"/>
                <a:cs typeface="Arial"/>
              </a:rPr>
              <a:t>al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7382315" y="4793991"/>
            <a:ext cx="400745" cy="40569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7277353" y="5162639"/>
            <a:ext cx="565152" cy="226984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>
              <a:spcBef>
                <a:spcPts val="90"/>
              </a:spcBef>
            </a:pPr>
            <a:r>
              <a:rPr sz="1400" spc="-5" dirty="0">
                <a:solidFill>
                  <a:srgbClr val="3A4056"/>
                </a:solidFill>
                <a:latin typeface="Arial"/>
                <a:cs typeface="Arial"/>
              </a:rPr>
              <a:t>Air</a:t>
            </a:r>
            <a:r>
              <a:rPr sz="1400" spc="-10" dirty="0">
                <a:solidFill>
                  <a:srgbClr val="3A4056"/>
                </a:solidFill>
                <a:latin typeface="Arial"/>
                <a:cs typeface="Arial"/>
              </a:rPr>
              <a:t>p</a:t>
            </a:r>
            <a:r>
              <a:rPr sz="1400" spc="-5" dirty="0">
                <a:solidFill>
                  <a:srgbClr val="3A4056"/>
                </a:solidFill>
                <a:latin typeface="Arial"/>
                <a:cs typeface="Arial"/>
              </a:rPr>
              <a:t>ort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517893" y="4129877"/>
            <a:ext cx="850265" cy="442428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>
              <a:spcBef>
                <a:spcPts val="90"/>
              </a:spcBef>
            </a:pPr>
            <a:r>
              <a:rPr lang="en-US" sz="1400" spc="-5" dirty="0">
                <a:solidFill>
                  <a:srgbClr val="3A4056"/>
                </a:solidFill>
                <a:latin typeface="Arial"/>
                <a:cs typeface="Arial"/>
              </a:rPr>
              <a:t>Remote Education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552311" y="2820760"/>
            <a:ext cx="1028445" cy="442428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>
              <a:spcBef>
                <a:spcPts val="90"/>
              </a:spcBef>
            </a:pPr>
            <a:r>
              <a:rPr lang="en-US" sz="1400" spc="-10" dirty="0">
                <a:solidFill>
                  <a:srgbClr val="3A4056"/>
                </a:solidFill>
                <a:latin typeface="Arial"/>
                <a:cs typeface="Arial"/>
              </a:rPr>
              <a:t>Remote Work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551936" y="3345652"/>
            <a:ext cx="574675" cy="631190"/>
          </a:xfrm>
          <a:custGeom>
            <a:avLst/>
            <a:gdLst/>
            <a:ahLst/>
            <a:cxnLst/>
            <a:rect l="l" t="t" r="r" b="b"/>
            <a:pathLst>
              <a:path w="574675" h="631189">
                <a:moveTo>
                  <a:pt x="61809" y="48846"/>
                </a:moveTo>
                <a:lnTo>
                  <a:pt x="42653" y="66268"/>
                </a:lnTo>
                <a:lnTo>
                  <a:pt x="555497" y="630808"/>
                </a:lnTo>
                <a:lnTo>
                  <a:pt x="574675" y="613409"/>
                </a:lnTo>
                <a:lnTo>
                  <a:pt x="61809" y="48846"/>
                </a:lnTo>
                <a:close/>
              </a:path>
              <a:path w="574675" h="631189">
                <a:moveTo>
                  <a:pt x="0" y="0"/>
                </a:moveTo>
                <a:lnTo>
                  <a:pt x="23494" y="83692"/>
                </a:lnTo>
                <a:lnTo>
                  <a:pt x="42653" y="66268"/>
                </a:lnTo>
                <a:lnTo>
                  <a:pt x="33908" y="56641"/>
                </a:lnTo>
                <a:lnTo>
                  <a:pt x="53085" y="39242"/>
                </a:lnTo>
                <a:lnTo>
                  <a:pt x="72368" y="39242"/>
                </a:lnTo>
                <a:lnTo>
                  <a:pt x="81025" y="31368"/>
                </a:lnTo>
                <a:lnTo>
                  <a:pt x="0" y="0"/>
                </a:lnTo>
                <a:close/>
              </a:path>
              <a:path w="574675" h="631189">
                <a:moveTo>
                  <a:pt x="53085" y="39242"/>
                </a:moveTo>
                <a:lnTo>
                  <a:pt x="33908" y="56641"/>
                </a:lnTo>
                <a:lnTo>
                  <a:pt x="42653" y="66268"/>
                </a:lnTo>
                <a:lnTo>
                  <a:pt x="61809" y="48846"/>
                </a:lnTo>
                <a:lnTo>
                  <a:pt x="53085" y="39242"/>
                </a:lnTo>
                <a:close/>
              </a:path>
              <a:path w="574675" h="631189">
                <a:moveTo>
                  <a:pt x="72368" y="39242"/>
                </a:moveTo>
                <a:lnTo>
                  <a:pt x="53085" y="39242"/>
                </a:lnTo>
                <a:lnTo>
                  <a:pt x="61809" y="48846"/>
                </a:lnTo>
                <a:lnTo>
                  <a:pt x="72368" y="39242"/>
                </a:lnTo>
                <a:close/>
              </a:path>
            </a:pathLst>
          </a:custGeom>
          <a:solidFill>
            <a:srgbClr val="017BD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997199" y="4239349"/>
            <a:ext cx="1024891" cy="87630"/>
          </a:xfrm>
          <a:custGeom>
            <a:avLst/>
            <a:gdLst/>
            <a:ahLst/>
            <a:cxnLst/>
            <a:rect l="l" t="t" r="r" b="b"/>
            <a:pathLst>
              <a:path w="1024890" h="87629">
                <a:moveTo>
                  <a:pt x="78147" y="25893"/>
                </a:moveTo>
                <a:lnTo>
                  <a:pt x="77174" y="51796"/>
                </a:lnTo>
                <a:lnTo>
                  <a:pt x="1023493" y="87630"/>
                </a:lnTo>
                <a:lnTo>
                  <a:pt x="1024508" y="61849"/>
                </a:lnTo>
                <a:lnTo>
                  <a:pt x="78147" y="25893"/>
                </a:lnTo>
                <a:close/>
              </a:path>
              <a:path w="1024890" h="87629">
                <a:moveTo>
                  <a:pt x="79121" y="0"/>
                </a:moveTo>
                <a:lnTo>
                  <a:pt x="0" y="35941"/>
                </a:lnTo>
                <a:lnTo>
                  <a:pt x="76200" y="77724"/>
                </a:lnTo>
                <a:lnTo>
                  <a:pt x="77174" y="51796"/>
                </a:lnTo>
                <a:lnTo>
                  <a:pt x="64262" y="51308"/>
                </a:lnTo>
                <a:lnTo>
                  <a:pt x="65150" y="25400"/>
                </a:lnTo>
                <a:lnTo>
                  <a:pt x="78166" y="25400"/>
                </a:lnTo>
                <a:lnTo>
                  <a:pt x="79121" y="0"/>
                </a:lnTo>
                <a:close/>
              </a:path>
              <a:path w="1024890" h="87629">
                <a:moveTo>
                  <a:pt x="65150" y="25400"/>
                </a:moveTo>
                <a:lnTo>
                  <a:pt x="64262" y="51308"/>
                </a:lnTo>
                <a:lnTo>
                  <a:pt x="77174" y="51796"/>
                </a:lnTo>
                <a:lnTo>
                  <a:pt x="78147" y="25893"/>
                </a:lnTo>
                <a:lnTo>
                  <a:pt x="65150" y="25400"/>
                </a:lnTo>
                <a:close/>
              </a:path>
              <a:path w="1024890" h="87629">
                <a:moveTo>
                  <a:pt x="78166" y="25400"/>
                </a:moveTo>
                <a:lnTo>
                  <a:pt x="65150" y="25400"/>
                </a:lnTo>
                <a:lnTo>
                  <a:pt x="78147" y="25893"/>
                </a:lnTo>
                <a:lnTo>
                  <a:pt x="78166" y="25400"/>
                </a:lnTo>
                <a:close/>
              </a:path>
            </a:pathLst>
          </a:custGeom>
          <a:solidFill>
            <a:srgbClr val="017BD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509515" y="4619079"/>
            <a:ext cx="254635" cy="543560"/>
          </a:xfrm>
          <a:custGeom>
            <a:avLst/>
            <a:gdLst/>
            <a:ahLst/>
            <a:cxnLst/>
            <a:rect l="l" t="t" r="r" b="b"/>
            <a:pathLst>
              <a:path w="254634" h="543560">
                <a:moveTo>
                  <a:pt x="0" y="456438"/>
                </a:moveTo>
                <a:lnTo>
                  <a:pt x="4063" y="543306"/>
                </a:lnTo>
                <a:lnTo>
                  <a:pt x="69428" y="489331"/>
                </a:lnTo>
                <a:lnTo>
                  <a:pt x="42163" y="489331"/>
                </a:lnTo>
                <a:lnTo>
                  <a:pt x="18414" y="478789"/>
                </a:lnTo>
                <a:lnTo>
                  <a:pt x="23675" y="466922"/>
                </a:lnTo>
                <a:lnTo>
                  <a:pt x="0" y="456438"/>
                </a:lnTo>
                <a:close/>
              </a:path>
              <a:path w="254634" h="543560">
                <a:moveTo>
                  <a:pt x="23675" y="466922"/>
                </a:moveTo>
                <a:lnTo>
                  <a:pt x="18414" y="478789"/>
                </a:lnTo>
                <a:lnTo>
                  <a:pt x="42163" y="489331"/>
                </a:lnTo>
                <a:lnTo>
                  <a:pt x="47428" y="477442"/>
                </a:lnTo>
                <a:lnTo>
                  <a:pt x="23675" y="466922"/>
                </a:lnTo>
                <a:close/>
              </a:path>
              <a:path w="254634" h="543560">
                <a:moveTo>
                  <a:pt x="47428" y="477442"/>
                </a:moveTo>
                <a:lnTo>
                  <a:pt x="42163" y="489331"/>
                </a:lnTo>
                <a:lnTo>
                  <a:pt x="69428" y="489331"/>
                </a:lnTo>
                <a:lnTo>
                  <a:pt x="71120" y="487933"/>
                </a:lnTo>
                <a:lnTo>
                  <a:pt x="47428" y="477442"/>
                </a:lnTo>
                <a:close/>
              </a:path>
              <a:path w="254634" h="543560">
                <a:moveTo>
                  <a:pt x="230631" y="0"/>
                </a:moveTo>
                <a:lnTo>
                  <a:pt x="23675" y="466922"/>
                </a:lnTo>
                <a:lnTo>
                  <a:pt x="47428" y="477442"/>
                </a:lnTo>
                <a:lnTo>
                  <a:pt x="254253" y="10413"/>
                </a:lnTo>
                <a:lnTo>
                  <a:pt x="230631" y="0"/>
                </a:lnTo>
                <a:close/>
              </a:path>
            </a:pathLst>
          </a:custGeom>
          <a:solidFill>
            <a:srgbClr val="017BD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291201" y="4612729"/>
            <a:ext cx="861695" cy="436880"/>
          </a:xfrm>
          <a:custGeom>
            <a:avLst/>
            <a:gdLst/>
            <a:ahLst/>
            <a:cxnLst/>
            <a:rect l="l" t="t" r="r" b="b"/>
            <a:pathLst>
              <a:path w="861695" h="436879">
                <a:moveTo>
                  <a:pt x="786199" y="413710"/>
                </a:moveTo>
                <a:lnTo>
                  <a:pt x="774700" y="436880"/>
                </a:lnTo>
                <a:lnTo>
                  <a:pt x="861568" y="436625"/>
                </a:lnTo>
                <a:lnTo>
                  <a:pt x="848630" y="419481"/>
                </a:lnTo>
                <a:lnTo>
                  <a:pt x="797814" y="419481"/>
                </a:lnTo>
                <a:lnTo>
                  <a:pt x="786199" y="413710"/>
                </a:lnTo>
                <a:close/>
              </a:path>
              <a:path w="861695" h="436879">
                <a:moveTo>
                  <a:pt x="797738" y="390463"/>
                </a:moveTo>
                <a:lnTo>
                  <a:pt x="786199" y="413710"/>
                </a:lnTo>
                <a:lnTo>
                  <a:pt x="797814" y="419481"/>
                </a:lnTo>
                <a:lnTo>
                  <a:pt x="809371" y="396239"/>
                </a:lnTo>
                <a:lnTo>
                  <a:pt x="797738" y="390463"/>
                </a:lnTo>
                <a:close/>
              </a:path>
              <a:path w="861695" h="436879">
                <a:moveTo>
                  <a:pt x="809244" y="367283"/>
                </a:moveTo>
                <a:lnTo>
                  <a:pt x="797738" y="390463"/>
                </a:lnTo>
                <a:lnTo>
                  <a:pt x="809371" y="396239"/>
                </a:lnTo>
                <a:lnTo>
                  <a:pt x="797814" y="419481"/>
                </a:lnTo>
                <a:lnTo>
                  <a:pt x="848630" y="419481"/>
                </a:lnTo>
                <a:lnTo>
                  <a:pt x="809244" y="367283"/>
                </a:lnTo>
                <a:close/>
              </a:path>
              <a:path w="861695" h="436879">
                <a:moveTo>
                  <a:pt x="11429" y="0"/>
                </a:moveTo>
                <a:lnTo>
                  <a:pt x="0" y="23113"/>
                </a:lnTo>
                <a:lnTo>
                  <a:pt x="786199" y="413710"/>
                </a:lnTo>
                <a:lnTo>
                  <a:pt x="797738" y="390463"/>
                </a:lnTo>
                <a:lnTo>
                  <a:pt x="11429" y="0"/>
                </a:lnTo>
                <a:close/>
              </a:path>
            </a:pathLst>
          </a:custGeom>
          <a:solidFill>
            <a:srgbClr val="017BD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451729" y="3922229"/>
            <a:ext cx="927735" cy="306070"/>
          </a:xfrm>
          <a:custGeom>
            <a:avLst/>
            <a:gdLst/>
            <a:ahLst/>
            <a:cxnLst/>
            <a:rect l="l" t="t" r="r" b="b"/>
            <a:pathLst>
              <a:path w="927734" h="306070">
                <a:moveTo>
                  <a:pt x="849374" y="24800"/>
                </a:moveTo>
                <a:lnTo>
                  <a:pt x="0" y="281177"/>
                </a:lnTo>
                <a:lnTo>
                  <a:pt x="7366" y="305942"/>
                </a:lnTo>
                <a:lnTo>
                  <a:pt x="856855" y="49569"/>
                </a:lnTo>
                <a:lnTo>
                  <a:pt x="849374" y="24800"/>
                </a:lnTo>
                <a:close/>
              </a:path>
              <a:path w="927734" h="306070">
                <a:moveTo>
                  <a:pt x="920766" y="21082"/>
                </a:moveTo>
                <a:lnTo>
                  <a:pt x="861695" y="21082"/>
                </a:lnTo>
                <a:lnTo>
                  <a:pt x="869188" y="45847"/>
                </a:lnTo>
                <a:lnTo>
                  <a:pt x="856855" y="49569"/>
                </a:lnTo>
                <a:lnTo>
                  <a:pt x="864362" y="74422"/>
                </a:lnTo>
                <a:lnTo>
                  <a:pt x="920766" y="21082"/>
                </a:lnTo>
                <a:close/>
              </a:path>
              <a:path w="927734" h="306070">
                <a:moveTo>
                  <a:pt x="861695" y="21082"/>
                </a:moveTo>
                <a:lnTo>
                  <a:pt x="849374" y="24800"/>
                </a:lnTo>
                <a:lnTo>
                  <a:pt x="856855" y="49569"/>
                </a:lnTo>
                <a:lnTo>
                  <a:pt x="869188" y="45847"/>
                </a:lnTo>
                <a:lnTo>
                  <a:pt x="861695" y="21082"/>
                </a:lnTo>
                <a:close/>
              </a:path>
              <a:path w="927734" h="306070">
                <a:moveTo>
                  <a:pt x="841883" y="0"/>
                </a:moveTo>
                <a:lnTo>
                  <a:pt x="849374" y="24800"/>
                </a:lnTo>
                <a:lnTo>
                  <a:pt x="861695" y="21082"/>
                </a:lnTo>
                <a:lnTo>
                  <a:pt x="920766" y="21082"/>
                </a:lnTo>
                <a:lnTo>
                  <a:pt x="927481" y="14732"/>
                </a:lnTo>
                <a:lnTo>
                  <a:pt x="841883" y="0"/>
                </a:lnTo>
                <a:close/>
              </a:path>
            </a:pathLst>
          </a:custGeom>
          <a:solidFill>
            <a:srgbClr val="017BD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287137" y="3284692"/>
            <a:ext cx="507365" cy="578485"/>
          </a:xfrm>
          <a:custGeom>
            <a:avLst/>
            <a:gdLst/>
            <a:ahLst/>
            <a:cxnLst/>
            <a:rect l="l" t="t" r="r" b="b"/>
            <a:pathLst>
              <a:path w="507365" h="578485">
                <a:moveTo>
                  <a:pt x="446243" y="50045"/>
                </a:moveTo>
                <a:lnTo>
                  <a:pt x="0" y="561213"/>
                </a:lnTo>
                <a:lnTo>
                  <a:pt x="19557" y="578230"/>
                </a:lnTo>
                <a:lnTo>
                  <a:pt x="465783" y="67084"/>
                </a:lnTo>
                <a:lnTo>
                  <a:pt x="446243" y="50045"/>
                </a:lnTo>
                <a:close/>
              </a:path>
              <a:path w="507365" h="578485">
                <a:moveTo>
                  <a:pt x="496650" y="40258"/>
                </a:moveTo>
                <a:lnTo>
                  <a:pt x="454786" y="40258"/>
                </a:lnTo>
                <a:lnTo>
                  <a:pt x="474344" y="57276"/>
                </a:lnTo>
                <a:lnTo>
                  <a:pt x="465783" y="67084"/>
                </a:lnTo>
                <a:lnTo>
                  <a:pt x="485266" y="84074"/>
                </a:lnTo>
                <a:lnTo>
                  <a:pt x="496650" y="40258"/>
                </a:lnTo>
                <a:close/>
              </a:path>
              <a:path w="507365" h="578485">
                <a:moveTo>
                  <a:pt x="454786" y="40258"/>
                </a:moveTo>
                <a:lnTo>
                  <a:pt x="446243" y="50045"/>
                </a:lnTo>
                <a:lnTo>
                  <a:pt x="465783" y="67084"/>
                </a:lnTo>
                <a:lnTo>
                  <a:pt x="474344" y="57276"/>
                </a:lnTo>
                <a:lnTo>
                  <a:pt x="454786" y="40258"/>
                </a:lnTo>
                <a:close/>
              </a:path>
              <a:path w="507365" h="578485">
                <a:moveTo>
                  <a:pt x="507110" y="0"/>
                </a:moveTo>
                <a:lnTo>
                  <a:pt x="426719" y="33019"/>
                </a:lnTo>
                <a:lnTo>
                  <a:pt x="446243" y="50045"/>
                </a:lnTo>
                <a:lnTo>
                  <a:pt x="454786" y="40258"/>
                </a:lnTo>
                <a:lnTo>
                  <a:pt x="496650" y="40258"/>
                </a:lnTo>
                <a:lnTo>
                  <a:pt x="507110" y="0"/>
                </a:lnTo>
                <a:close/>
              </a:path>
            </a:pathLst>
          </a:custGeom>
          <a:solidFill>
            <a:srgbClr val="017BD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214374" y="2"/>
            <a:ext cx="7414259" cy="60655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2670551" y="179053"/>
            <a:ext cx="6850897" cy="335988"/>
          </a:xfrm>
          <a:prstGeom prst="rect">
            <a:avLst/>
          </a:prstGeom>
        </p:spPr>
        <p:txBody>
          <a:bodyPr vert="horz" wrap="square" lIns="0" tIns="12699" rIns="0" bIns="0" rtlCol="0">
            <a:spAutoFit/>
          </a:bodyPr>
          <a:lstStyle/>
          <a:p>
            <a:pPr marL="12699" algn="ctr">
              <a:spcBef>
                <a:spcPts val="100"/>
              </a:spcBef>
            </a:pPr>
            <a:r>
              <a:rPr lang="en-US" sz="2100" b="1" dirty="0">
                <a:solidFill>
                  <a:srgbClr val="FFFFFF"/>
                </a:solidFill>
                <a:latin typeface="Arial"/>
                <a:cs typeface="Arial"/>
              </a:rPr>
              <a:t>FTTX and 5G access </a:t>
            </a:r>
            <a:endParaRPr sz="2100" dirty="0">
              <a:latin typeface="Arial"/>
              <a:cs typeface="Arial"/>
            </a:endParaRP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293" t="7545" r="11487" b="32428"/>
          <a:stretch/>
        </p:blipFill>
        <p:spPr bwMode="auto">
          <a:xfrm>
            <a:off x="6469766" y="1981202"/>
            <a:ext cx="961392" cy="851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8" name="Picture 4" descr="Image result for remote education logo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140" y="3099706"/>
            <a:ext cx="948452" cy="948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229" name="Picture 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1156" y="4404157"/>
            <a:ext cx="1085335" cy="49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tangle 35"/>
          <p:cNvSpPr/>
          <p:nvPr/>
        </p:nvSpPr>
        <p:spPr>
          <a:xfrm>
            <a:off x="7772400" y="1332591"/>
            <a:ext cx="4279463" cy="1077216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defTabSz="914260" hangingPunct="1"/>
            <a:r>
              <a:rPr lang="en-US" sz="1600" kern="1200" dirty="0">
                <a:solidFill>
                  <a:srgbClr val="002060"/>
                </a:solidFill>
              </a:rPr>
              <a:t>Remote working and Remote education have put tremendous pressure on bandwidth requirement especially the symmetric aspect (Upload and download)</a:t>
            </a:r>
          </a:p>
        </p:txBody>
      </p:sp>
      <p:sp>
        <p:nvSpPr>
          <p:cNvPr id="46" name="object 81"/>
          <p:cNvSpPr/>
          <p:nvPr/>
        </p:nvSpPr>
        <p:spPr>
          <a:xfrm>
            <a:off x="11051288" y="6158734"/>
            <a:ext cx="1159762" cy="683008"/>
          </a:xfrm>
          <a:prstGeom prst="rect">
            <a:avLst/>
          </a:prstGeom>
          <a:blipFill>
            <a:blip r:embed="rId12" cstate="print"/>
            <a:srcRect/>
            <a:stretch>
              <a:fillRect t="1" b="-24954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2237" name="Picture 13"/>
          <p:cNvPicPr>
            <a:picLocks noChangeAspect="1" noChangeArrowheads="1"/>
          </p:cNvPicPr>
          <p:nvPr/>
        </p:nvPicPr>
        <p:blipFill rotWithShape="1"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14" r="41207" b="51473"/>
          <a:stretch/>
        </p:blipFill>
        <p:spPr bwMode="auto">
          <a:xfrm>
            <a:off x="5215652" y="3171268"/>
            <a:ext cx="1133317" cy="49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TextBox 51"/>
          <p:cNvSpPr txBox="1"/>
          <p:nvPr/>
        </p:nvSpPr>
        <p:spPr>
          <a:xfrm>
            <a:off x="207407" y="4966522"/>
            <a:ext cx="44297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60" hangingPunct="1"/>
            <a:r>
              <a:rPr lang="en-US" sz="1600" kern="1200" dirty="0">
                <a:solidFill>
                  <a:srgbClr val="002060"/>
                </a:solidFill>
              </a:rPr>
              <a:t> Building quick field hospitals to mitigate the tremendous increase of COVID patients</a:t>
            </a:r>
          </a:p>
        </p:txBody>
      </p:sp>
      <p:sp>
        <p:nvSpPr>
          <p:cNvPr id="44" name="Rectangle 43"/>
          <p:cNvSpPr/>
          <p:nvPr/>
        </p:nvSpPr>
        <p:spPr>
          <a:xfrm>
            <a:off x="7379464" y="5525409"/>
            <a:ext cx="44425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kern="1200" dirty="0">
                <a:solidFill>
                  <a:srgbClr val="002060"/>
                </a:solidFill>
              </a:rPr>
              <a:t>Much larger concurrent number of customers connected to the internet means a need to upgrade all the components of the network.   </a:t>
            </a:r>
          </a:p>
        </p:txBody>
      </p:sp>
      <p:sp>
        <p:nvSpPr>
          <p:cNvPr id="45" name="Rectangle 44"/>
          <p:cNvSpPr/>
          <p:nvPr/>
        </p:nvSpPr>
        <p:spPr>
          <a:xfrm>
            <a:off x="42602" y="1150205"/>
            <a:ext cx="452577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kern="1200" dirty="0">
                <a:solidFill>
                  <a:srgbClr val="002060"/>
                </a:solidFill>
              </a:rPr>
              <a:t>FTTX Projects that requires long time to reach the customers are under stress and operators are considering seriously to replace it by the FWA option over 5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4262C1E-D269-4064-8B22-1DCE170A808D}"/>
              </a:ext>
            </a:extLst>
          </p:cNvPr>
          <p:cNvSpPr txBox="1"/>
          <p:nvPr/>
        </p:nvSpPr>
        <p:spPr>
          <a:xfrm>
            <a:off x="5509330" y="3742208"/>
            <a:ext cx="366443" cy="5847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&amp;</a:t>
            </a:r>
          </a:p>
        </p:txBody>
      </p:sp>
    </p:spTree>
    <p:extLst>
      <p:ext uri="{BB962C8B-B14F-4D97-AF65-F5344CB8AC3E}">
        <p14:creationId xmlns:p14="http://schemas.microsoft.com/office/powerpoint/2010/main" val="17910147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bject 37"/>
          <p:cNvSpPr/>
          <p:nvPr/>
        </p:nvSpPr>
        <p:spPr>
          <a:xfrm>
            <a:off x="2214374" y="2"/>
            <a:ext cx="7414259" cy="6065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2667000" y="135283"/>
            <a:ext cx="6858000" cy="335988"/>
          </a:xfrm>
          <a:prstGeom prst="rect">
            <a:avLst/>
          </a:prstGeom>
        </p:spPr>
        <p:txBody>
          <a:bodyPr vert="horz" wrap="square" lIns="0" tIns="12699" rIns="0" bIns="0" rtlCol="0">
            <a:spAutoFit/>
          </a:bodyPr>
          <a:lstStyle/>
          <a:p>
            <a:pPr marL="12699" algn="ctr">
              <a:spcBef>
                <a:spcPts val="100"/>
              </a:spcBef>
            </a:pPr>
            <a:r>
              <a:rPr lang="en-US" sz="2100" b="1" dirty="0">
                <a:solidFill>
                  <a:srgbClr val="FFFFFF"/>
                </a:solidFill>
                <a:latin typeface="Arial"/>
                <a:cs typeface="Arial"/>
              </a:rPr>
              <a:t>AI and Machine learning in the call center</a:t>
            </a:r>
            <a:endParaRPr sz="2100" dirty="0">
              <a:latin typeface="Arial"/>
              <a:cs typeface="Arial"/>
            </a:endParaRPr>
          </a:p>
        </p:txBody>
      </p:sp>
      <p:pic>
        <p:nvPicPr>
          <p:cNvPr id="52232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2052443"/>
            <a:ext cx="8868917" cy="44344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object 81"/>
          <p:cNvSpPr/>
          <p:nvPr/>
        </p:nvSpPr>
        <p:spPr>
          <a:xfrm>
            <a:off x="11013949" y="5992366"/>
            <a:ext cx="1159762" cy="85344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Rectangle 1"/>
          <p:cNvSpPr/>
          <p:nvPr/>
        </p:nvSpPr>
        <p:spPr>
          <a:xfrm>
            <a:off x="323850" y="963402"/>
            <a:ext cx="11430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kern="1200" dirty="0">
                <a:solidFill>
                  <a:srgbClr val="002060"/>
                </a:solidFill>
              </a:rPr>
              <a:t>Customers requires faster response from the Call center to solve their problems or upgrade their service, therefore operators need the assistance of machines and AI in the call center</a:t>
            </a:r>
          </a:p>
        </p:txBody>
      </p:sp>
    </p:spTree>
    <p:extLst>
      <p:ext uri="{BB962C8B-B14F-4D97-AF65-F5344CB8AC3E}">
        <p14:creationId xmlns:p14="http://schemas.microsoft.com/office/powerpoint/2010/main" val="38785714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9" name="Picture Placeholder 1"/>
          <p:cNvGrpSpPr/>
          <p:nvPr/>
        </p:nvGrpSpPr>
        <p:grpSpPr>
          <a:xfrm>
            <a:off x="-20471" y="-41354"/>
            <a:ext cx="12212472" cy="6899354"/>
            <a:chOff x="-20472" y="-41354"/>
            <a:chExt cx="12212472" cy="6899354"/>
          </a:xfrm>
        </p:grpSpPr>
        <p:sp>
          <p:nvSpPr>
            <p:cNvPr id="607" name="Rectangle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>
                <a:defRPr>
                  <a:latin typeface="+mj-lt"/>
                  <a:ea typeface="+mj-ea"/>
                  <a:cs typeface="+mj-cs"/>
                  <a:sym typeface="Roboto Light"/>
                </a:defRPr>
              </a:pPr>
              <a:endParaRPr/>
            </a:p>
          </p:txBody>
        </p:sp>
        <p:pic>
          <p:nvPicPr>
            <p:cNvPr id="608" name="image5.jpe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0472" y="-41354"/>
              <a:ext cx="12192000" cy="68580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610" name="Oval 15"/>
          <p:cNvSpPr/>
          <p:nvPr/>
        </p:nvSpPr>
        <p:spPr>
          <a:xfrm>
            <a:off x="642427" y="685800"/>
            <a:ext cx="5486407" cy="5486400"/>
          </a:xfrm>
          <a:prstGeom prst="ellipse">
            <a:avLst/>
          </a:prstGeom>
          <a:solidFill>
            <a:srgbClr val="FFFFFF">
              <a:alpha val="50000"/>
            </a:srgbClr>
          </a:solidFill>
          <a:ln w="12700">
            <a:miter lim="400000"/>
          </a:ln>
        </p:spPr>
        <p:txBody>
          <a:bodyPr lIns="45712" tIns="45712" rIns="45712" bIns="45712" anchor="ctr"/>
          <a:lstStyle/>
          <a:p>
            <a:pPr algn="ctr">
              <a:defRPr sz="2400">
                <a:solidFill>
                  <a:srgbClr val="FFFFFF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11" name="Oval 26"/>
          <p:cNvSpPr/>
          <p:nvPr/>
        </p:nvSpPr>
        <p:spPr>
          <a:xfrm>
            <a:off x="871026" y="914401"/>
            <a:ext cx="5029202" cy="5029200"/>
          </a:xfrm>
          <a:prstGeom prst="ellipse">
            <a:avLst/>
          </a:prstGeom>
          <a:gradFill>
            <a:gsLst>
              <a:gs pos="0">
                <a:srgbClr val="182C87"/>
              </a:gs>
              <a:gs pos="100000">
                <a:srgbClr val="E60040"/>
              </a:gs>
            </a:gsLst>
            <a:lin ang="19860000"/>
          </a:gradFill>
          <a:ln w="12700">
            <a:miter lim="400000"/>
          </a:ln>
        </p:spPr>
        <p:txBody>
          <a:bodyPr lIns="45712" tIns="45712" rIns="45712" bIns="45712" anchor="ctr"/>
          <a:lstStyle/>
          <a:p>
            <a:pPr algn="ctr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Roboto Light"/>
              </a:defRPr>
            </a:pPr>
            <a:endParaRPr/>
          </a:p>
        </p:txBody>
      </p:sp>
      <p:sp>
        <p:nvSpPr>
          <p:cNvPr id="612" name="TextBox 4"/>
          <p:cNvSpPr txBox="1"/>
          <p:nvPr/>
        </p:nvSpPr>
        <p:spPr>
          <a:xfrm>
            <a:off x="990600" y="2977317"/>
            <a:ext cx="4615375" cy="8206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2" tIns="45712" rIns="45712" bIns="45712">
            <a:spAutoFit/>
          </a:bodyPr>
          <a:lstStyle/>
          <a:p>
            <a:pPr algn="ctr">
              <a:lnSpc>
                <a:spcPct val="150000"/>
              </a:lnSpc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altLang="en-US" sz="3600" dirty="0">
                <a:solidFill>
                  <a:srgbClr val="FFFFFF"/>
                </a:solidFill>
                <a:latin typeface="Roboto Slab Regular"/>
              </a:rPr>
              <a:t>Lebanon Case</a:t>
            </a:r>
          </a:p>
        </p:txBody>
      </p:sp>
      <p:pic>
        <p:nvPicPr>
          <p:cNvPr id="8" name="Picture 7" descr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4029" y="5867402"/>
            <a:ext cx="1995101" cy="829723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2"/>
          </p:nvPr>
        </p:nvSpPr>
        <p:spPr>
          <a:xfrm>
            <a:off x="5911056" y="6278395"/>
            <a:ext cx="262235" cy="276983"/>
          </a:xfrm>
        </p:spPr>
        <p:txBody>
          <a:bodyPr/>
          <a:lstStyle/>
          <a:p>
            <a:fld id="{86CB4B4D-7CA3-9044-876B-883B54F8677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926762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bject 37"/>
          <p:cNvSpPr/>
          <p:nvPr/>
        </p:nvSpPr>
        <p:spPr>
          <a:xfrm>
            <a:off x="2214374" y="2"/>
            <a:ext cx="7414259" cy="6065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3017011" y="18414"/>
            <a:ext cx="6410579" cy="335988"/>
          </a:xfrm>
          <a:prstGeom prst="rect">
            <a:avLst/>
          </a:prstGeom>
        </p:spPr>
        <p:txBody>
          <a:bodyPr vert="horz" wrap="square" lIns="0" tIns="12699" rIns="0" bIns="0" rtlCol="0">
            <a:spAutoFit/>
          </a:bodyPr>
          <a:lstStyle/>
          <a:p>
            <a:pPr marL="12699">
              <a:spcBef>
                <a:spcPts val="100"/>
              </a:spcBef>
            </a:pPr>
            <a:r>
              <a:rPr lang="en-US" sz="2100" b="1" dirty="0">
                <a:solidFill>
                  <a:srgbClr val="FFFFFF"/>
                </a:solidFill>
                <a:latin typeface="Arial"/>
                <a:cs typeface="Arial"/>
              </a:rPr>
              <a:t>                 Lebanon Current Situation</a:t>
            </a:r>
            <a:endParaRPr sz="2100" dirty="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1032238" y="6105247"/>
            <a:ext cx="1159762" cy="752755"/>
          </a:xfrm>
          <a:prstGeom prst="rect">
            <a:avLst/>
          </a:prstGeom>
          <a:blipFill>
            <a:blip r:embed="rId5" cstate="print"/>
            <a:srcRect/>
            <a:stretch>
              <a:fillRect b="-13376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94" b="22002"/>
          <a:stretch/>
        </p:blipFill>
        <p:spPr>
          <a:xfrm>
            <a:off x="9067800" y="2133600"/>
            <a:ext cx="2651444" cy="3344996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97" b="21189"/>
          <a:stretch/>
        </p:blipFill>
        <p:spPr>
          <a:xfrm>
            <a:off x="5063992" y="1717903"/>
            <a:ext cx="3239945" cy="4039598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5810652" y="5920585"/>
            <a:ext cx="1746624" cy="3693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6" tIns="45716" rIns="45716" bIns="45716" numCol="1" spcCol="38098" rtlCol="0" anchor="t">
            <a:spAutoFit/>
          </a:bodyPr>
          <a:lstStyle/>
          <a:p>
            <a:pPr defTabSz="914363"/>
            <a:r>
              <a:rPr lang="en-US" dirty="0"/>
              <a:t>Economic Crisi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219200" y="6316492"/>
            <a:ext cx="2246761" cy="3693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6" tIns="45716" rIns="45716" bIns="45716" numCol="1" spcCol="38098" rtlCol="0" anchor="t">
            <a:spAutoFit/>
          </a:bodyPr>
          <a:lstStyle/>
          <a:p>
            <a:pPr defTabSz="914363"/>
            <a:r>
              <a:rPr lang="en-US" dirty="0"/>
              <a:t>Beirut Port Explosio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803558" y="5513572"/>
            <a:ext cx="3239945" cy="3693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6" tIns="45716" rIns="45716" bIns="45716" numCol="1" spcCol="38098" rtlCol="0" anchor="t">
            <a:spAutoFit/>
          </a:bodyPr>
          <a:lstStyle/>
          <a:p>
            <a:pPr algn="ctr" defTabSz="914363"/>
            <a:r>
              <a:rPr lang="en-US" dirty="0"/>
              <a:t>Exhausted Health Care Sector</a:t>
            </a:r>
          </a:p>
        </p:txBody>
      </p:sp>
      <p:pic>
        <p:nvPicPr>
          <p:cNvPr id="4" name="Port Explosion 2">
            <a:hlinkClick r:id="" action="ppaction://media"/>
            <a:extLst>
              <a:ext uri="{FF2B5EF4-FFF2-40B4-BE49-F238E27FC236}">
                <a16:creationId xmlns:a16="http://schemas.microsoft.com/office/drawing/2014/main" id="{55B1F2E9-EBFD-4142-AB7C-95AA45F32A0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28600" y="685800"/>
            <a:ext cx="4648200" cy="5431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559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009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592975" y="1758071"/>
            <a:ext cx="11044842" cy="42667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2826327" y="2258302"/>
            <a:ext cx="1488902" cy="3568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7878620" y="2246200"/>
            <a:ext cx="1498137" cy="39803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46694" y="3947102"/>
            <a:ext cx="410369" cy="1149163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defTabSz="914400" hangingPunct="1">
              <a:lnSpc>
                <a:spcPts val="1555"/>
              </a:lnSpc>
            </a:pPr>
            <a:r>
              <a:rPr sz="1300" b="1" kern="1200" spc="5" dirty="0">
                <a:solidFill>
                  <a:srgbClr val="FFFFFF"/>
                </a:solidFill>
                <a:latin typeface="Arial"/>
                <a:cs typeface="Arial"/>
              </a:rPr>
              <a:t>Unified</a:t>
            </a:r>
            <a:r>
              <a:rPr sz="1300" b="1" kern="1200" spc="-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00" b="1" kern="1200" spc="5" dirty="0">
                <a:solidFill>
                  <a:srgbClr val="FFFFFF"/>
                </a:solidFill>
                <a:latin typeface="Arial"/>
                <a:cs typeface="Arial"/>
              </a:rPr>
              <a:t>Security</a:t>
            </a:r>
            <a:endParaRPr sz="130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173770" y="3917211"/>
            <a:ext cx="410369" cy="1067360"/>
          </a:xfrm>
          <a:prstGeom prst="rect">
            <a:avLst/>
          </a:prstGeom>
        </p:spPr>
        <p:txBody>
          <a:bodyPr vert="vert" wrap="square" lIns="0" tIns="0" rIns="0" bIns="0" rtlCol="0">
            <a:spAutoFit/>
          </a:bodyPr>
          <a:lstStyle/>
          <a:p>
            <a:pPr marL="12700" defTabSz="914400" hangingPunct="1">
              <a:lnSpc>
                <a:spcPts val="1555"/>
              </a:lnSpc>
            </a:pPr>
            <a:r>
              <a:rPr sz="1300" b="1" kern="1200" spc="5" dirty="0">
                <a:solidFill>
                  <a:srgbClr val="FFFFFF"/>
                </a:solidFill>
                <a:latin typeface="Arial"/>
                <a:cs typeface="Arial"/>
              </a:rPr>
              <a:t>Unified</a:t>
            </a:r>
            <a:r>
              <a:rPr sz="1300" b="1" kern="1200" spc="-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00" b="1" kern="1200" spc="5" dirty="0">
                <a:solidFill>
                  <a:srgbClr val="FFFFFF"/>
                </a:solidFill>
                <a:latin typeface="Arial"/>
                <a:cs typeface="Arial"/>
              </a:rPr>
              <a:t>Securit</a:t>
            </a:r>
            <a:endParaRPr sz="130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1341685" y="4972716"/>
            <a:ext cx="227061" cy="384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914400" hangingPunct="1">
              <a:lnSpc>
                <a:spcPts val="260"/>
              </a:lnSpc>
            </a:pPr>
            <a:r>
              <a:rPr sz="1300" b="1" kern="1200" spc="10" dirty="0">
                <a:solidFill>
                  <a:srgbClr val="FFFFFF"/>
                </a:solidFill>
                <a:latin typeface="Arial"/>
                <a:cs typeface="Arial"/>
              </a:rPr>
              <a:t>y</a:t>
            </a:r>
            <a:endParaRPr sz="130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925485" y="2084834"/>
            <a:ext cx="10341032" cy="3727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521507" y="4339007"/>
            <a:ext cx="4636655" cy="91708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110780" y="4241742"/>
            <a:ext cx="4640348" cy="91708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064002" y="3299105"/>
            <a:ext cx="3982719" cy="91843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429788" y="3299105"/>
            <a:ext cx="2586182" cy="92112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8094748" y="3299105"/>
            <a:ext cx="2656378" cy="91843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424247" y="5184382"/>
            <a:ext cx="9326880" cy="37517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199459" y="5460480"/>
            <a:ext cx="1769533" cy="623889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defTabSz="914400" hangingPunct="1">
              <a:spcBef>
                <a:spcPts val="345"/>
              </a:spcBef>
            </a:pPr>
            <a:r>
              <a:rPr sz="2300" b="1" kern="1200" dirty="0">
                <a:solidFill>
                  <a:srgbClr val="FF0000"/>
                </a:solidFill>
                <a:cs typeface="Calibri"/>
              </a:rPr>
              <a:t>C</a:t>
            </a:r>
            <a:r>
              <a:rPr sz="1950" b="1" kern="1200" spc="15" dirty="0">
                <a:solidFill>
                  <a:srgbClr val="FFFFFF"/>
                </a:solidFill>
                <a:cs typeface="Calibri"/>
              </a:rPr>
              <a:t>o</a:t>
            </a:r>
            <a:r>
              <a:rPr sz="1950" b="1" kern="1200" spc="10" dirty="0">
                <a:solidFill>
                  <a:srgbClr val="FFFFFF"/>
                </a:solidFill>
                <a:cs typeface="Calibri"/>
              </a:rPr>
              <a:t>ll</a:t>
            </a:r>
            <a:r>
              <a:rPr sz="1950" b="1" kern="1200" dirty="0">
                <a:solidFill>
                  <a:srgbClr val="FFFFFF"/>
                </a:solidFill>
                <a:cs typeface="Calibri"/>
              </a:rPr>
              <a:t>a</a:t>
            </a:r>
            <a:r>
              <a:rPr sz="1950" b="1" kern="1200" spc="20" dirty="0">
                <a:solidFill>
                  <a:srgbClr val="FFFFFF"/>
                </a:solidFill>
                <a:cs typeface="Calibri"/>
              </a:rPr>
              <a:t>b</a:t>
            </a:r>
            <a:r>
              <a:rPr sz="1950" b="1" kern="1200" spc="15" dirty="0">
                <a:solidFill>
                  <a:srgbClr val="FFFFFF"/>
                </a:solidFill>
                <a:cs typeface="Calibri"/>
              </a:rPr>
              <a:t>o</a:t>
            </a:r>
            <a:r>
              <a:rPr sz="1950" b="1" kern="1200" spc="-45" dirty="0">
                <a:solidFill>
                  <a:srgbClr val="FFFFFF"/>
                </a:solidFill>
                <a:cs typeface="Calibri"/>
              </a:rPr>
              <a:t>r</a:t>
            </a:r>
            <a:r>
              <a:rPr sz="1950" b="1" kern="1200" spc="-20" dirty="0">
                <a:solidFill>
                  <a:srgbClr val="FFFFFF"/>
                </a:solidFill>
                <a:cs typeface="Calibri"/>
              </a:rPr>
              <a:t>a</a:t>
            </a:r>
            <a:r>
              <a:rPr sz="1950" b="1" kern="1200" spc="-5" dirty="0">
                <a:solidFill>
                  <a:srgbClr val="FFFFFF"/>
                </a:solidFill>
                <a:cs typeface="Calibri"/>
              </a:rPr>
              <a:t>t</a:t>
            </a:r>
            <a:r>
              <a:rPr sz="1950" b="1" kern="1200" spc="10" dirty="0">
                <a:solidFill>
                  <a:srgbClr val="FFFFFF"/>
                </a:solidFill>
                <a:cs typeface="Calibri"/>
              </a:rPr>
              <a:t>i</a:t>
            </a:r>
            <a:r>
              <a:rPr sz="1950" b="1" kern="1200" spc="15" dirty="0">
                <a:solidFill>
                  <a:srgbClr val="FFFFFF"/>
                </a:solidFill>
                <a:cs typeface="Calibri"/>
              </a:rPr>
              <a:t>on</a:t>
            </a:r>
            <a:endParaRPr sz="1950" kern="1200">
              <a:solidFill>
                <a:prstClr val="black"/>
              </a:solidFill>
              <a:cs typeface="Calibri"/>
            </a:endParaRPr>
          </a:p>
          <a:p>
            <a:pPr marL="93345" defTabSz="914400" hangingPunct="1">
              <a:spcBef>
                <a:spcPts val="160"/>
              </a:spcBef>
            </a:pPr>
            <a:r>
              <a:rPr sz="1300" b="1" kern="1200" spc="5" dirty="0">
                <a:solidFill>
                  <a:srgbClr val="FFFFFF"/>
                </a:solidFill>
                <a:latin typeface="Arial"/>
                <a:cs typeface="Arial"/>
              </a:rPr>
              <a:t>Unified</a:t>
            </a:r>
            <a:r>
              <a:rPr sz="1300" b="1" kern="12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00" b="1" kern="1200" spc="5" dirty="0">
                <a:solidFill>
                  <a:srgbClr val="FFFFFF"/>
                </a:solidFill>
                <a:latin typeface="Arial"/>
                <a:cs typeface="Arial"/>
              </a:rPr>
              <a:t>Security</a:t>
            </a:r>
            <a:endParaRPr sz="130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156989" y="2574306"/>
            <a:ext cx="1067724" cy="26759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7970982" y="2551447"/>
            <a:ext cx="1058487" cy="277009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080974" y="4102926"/>
            <a:ext cx="359073" cy="830916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defTabSz="914400" hangingPunct="1">
              <a:lnSpc>
                <a:spcPts val="1350"/>
              </a:lnSpc>
            </a:pPr>
            <a:r>
              <a:rPr sz="1300" b="1" kern="1200" dirty="0">
                <a:solidFill>
                  <a:srgbClr val="FF0000"/>
                </a:solidFill>
                <a:cs typeface="Calibri"/>
              </a:rPr>
              <a:t>C</a:t>
            </a:r>
            <a:r>
              <a:rPr sz="1300" kern="1200" dirty="0">
                <a:solidFill>
                  <a:srgbClr val="FFFFFF"/>
                </a:solidFill>
                <a:cs typeface="Calibri"/>
              </a:rPr>
              <a:t>ollaboration</a:t>
            </a:r>
            <a:endParaRPr sz="1300" kern="1200">
              <a:solidFill>
                <a:prstClr val="black"/>
              </a:solidFill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0755663" y="4032843"/>
            <a:ext cx="359073" cy="830916"/>
          </a:xfrm>
          <a:prstGeom prst="rect">
            <a:avLst/>
          </a:prstGeom>
        </p:spPr>
        <p:txBody>
          <a:bodyPr vert="vert" wrap="square" lIns="0" tIns="0" rIns="0" bIns="0" rtlCol="0">
            <a:spAutoFit/>
          </a:bodyPr>
          <a:lstStyle/>
          <a:p>
            <a:pPr marL="12700" defTabSz="914400" hangingPunct="1">
              <a:lnSpc>
                <a:spcPts val="1350"/>
              </a:lnSpc>
            </a:pPr>
            <a:r>
              <a:rPr sz="1300" b="1" kern="1200" dirty="0">
                <a:solidFill>
                  <a:srgbClr val="FF0000"/>
                </a:solidFill>
                <a:cs typeface="Calibri"/>
              </a:rPr>
              <a:t>C</a:t>
            </a:r>
            <a:r>
              <a:rPr sz="1300" kern="1200" dirty="0">
                <a:solidFill>
                  <a:srgbClr val="FFFFFF"/>
                </a:solidFill>
                <a:cs typeface="Calibri"/>
              </a:rPr>
              <a:t>ollaboration</a:t>
            </a:r>
            <a:endParaRPr sz="1300" kern="1200">
              <a:solidFill>
                <a:prstClr val="black"/>
              </a:solidFill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458046" y="3688579"/>
            <a:ext cx="1931939" cy="50013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 defTabSz="914400" hangingPunct="1">
              <a:lnSpc>
                <a:spcPts val="2730"/>
              </a:lnSpc>
              <a:spcBef>
                <a:spcPts val="100"/>
              </a:spcBef>
            </a:pPr>
            <a:r>
              <a:rPr sz="2300" b="1" kern="1200" spc="15" dirty="0">
                <a:solidFill>
                  <a:srgbClr val="FF0000"/>
                </a:solidFill>
                <a:latin typeface="Arial"/>
                <a:cs typeface="Arial"/>
              </a:rPr>
              <a:t>R</a:t>
            </a:r>
            <a:r>
              <a:rPr sz="1450" b="1" kern="1200" spc="15" dirty="0">
                <a:solidFill>
                  <a:srgbClr val="FFFFFF"/>
                </a:solidFill>
                <a:latin typeface="Arial"/>
                <a:cs typeface="Arial"/>
              </a:rPr>
              <a:t>econnaissance</a:t>
            </a:r>
            <a:endParaRPr sz="1450" kern="1200">
              <a:solidFill>
                <a:prstClr val="black"/>
              </a:solidFill>
              <a:latin typeface="Arial"/>
              <a:cs typeface="Arial"/>
            </a:endParaRPr>
          </a:p>
          <a:p>
            <a:pPr marL="49530" algn="ctr" defTabSz="914400" hangingPunct="1">
              <a:lnSpc>
                <a:spcPts val="1050"/>
              </a:lnSpc>
            </a:pPr>
            <a:r>
              <a:rPr sz="900" kern="1200" spc="5" dirty="0">
                <a:solidFill>
                  <a:srgbClr val="FFFFFF"/>
                </a:solidFill>
                <a:latin typeface="Arial"/>
                <a:cs typeface="Arial"/>
              </a:rPr>
              <a:t>UAV, </a:t>
            </a:r>
            <a:r>
              <a:rPr sz="900" kern="1200" dirty="0">
                <a:solidFill>
                  <a:srgbClr val="FFFFFF"/>
                </a:solidFill>
                <a:latin typeface="Arial"/>
                <a:cs typeface="Arial"/>
              </a:rPr>
              <a:t>IoT,</a:t>
            </a:r>
            <a:r>
              <a:rPr sz="900" kern="1200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kern="1200" dirty="0">
                <a:solidFill>
                  <a:srgbClr val="FFFFFF"/>
                </a:solidFill>
                <a:latin typeface="Arial"/>
                <a:cs typeface="Arial"/>
              </a:rPr>
              <a:t>eLTE</a:t>
            </a:r>
            <a:endParaRPr sz="90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703761" y="5179838"/>
            <a:ext cx="4420368" cy="3667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defTabSz="914400" hangingPunct="1">
              <a:spcBef>
                <a:spcPts val="100"/>
              </a:spcBef>
            </a:pPr>
            <a:r>
              <a:rPr sz="3450" b="1" kern="1200" spc="15" baseline="1207" dirty="0">
                <a:solidFill>
                  <a:srgbClr val="FF0000"/>
                </a:solidFill>
                <a:latin typeface="Arial"/>
                <a:cs typeface="Arial"/>
              </a:rPr>
              <a:t>C</a:t>
            </a:r>
            <a:r>
              <a:rPr sz="2175" b="1" kern="1200" spc="15" baseline="1915" dirty="0">
                <a:solidFill>
                  <a:srgbClr val="FFFFFF"/>
                </a:solidFill>
                <a:latin typeface="Arial"/>
                <a:cs typeface="Arial"/>
              </a:rPr>
              <a:t>loud </a:t>
            </a:r>
            <a:r>
              <a:rPr sz="900" kern="1200" dirty="0">
                <a:solidFill>
                  <a:srgbClr val="FFFFFF"/>
                </a:solidFill>
                <a:latin typeface="Arial"/>
                <a:cs typeface="Arial"/>
              </a:rPr>
              <a:t>Video Cloud / Policing Cloud / Intelligence Cloud -</a:t>
            </a:r>
            <a:r>
              <a:rPr sz="900" kern="1200" spc="-7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kern="1200" dirty="0">
                <a:solidFill>
                  <a:srgbClr val="FFFF00"/>
                </a:solidFill>
                <a:latin typeface="Arial"/>
                <a:cs typeface="Arial"/>
              </a:rPr>
              <a:t>Private</a:t>
            </a:r>
            <a:endParaRPr sz="90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5722851" y="3344825"/>
            <a:ext cx="733367" cy="40610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2491971" y="3417438"/>
            <a:ext cx="463665" cy="260873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9164322" y="3374407"/>
            <a:ext cx="580042" cy="346262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496886" y="4300910"/>
            <a:ext cx="502458" cy="313316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8196349" y="4267293"/>
            <a:ext cx="467360" cy="36844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4826924" y="5269097"/>
            <a:ext cx="522777" cy="21380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071378" y="3020290"/>
            <a:ext cx="647315" cy="16286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 defTabSz="914400" hangingPunct="1">
              <a:spcBef>
                <a:spcPts val="130"/>
              </a:spcBef>
            </a:pPr>
            <a:r>
              <a:rPr sz="950" kern="1200" spc="20" dirty="0">
                <a:solidFill>
                  <a:srgbClr val="FFFFFF"/>
                </a:solidFill>
                <a:latin typeface="Arial"/>
                <a:cs typeface="Arial"/>
              </a:rPr>
              <a:t>Safe</a:t>
            </a:r>
            <a:r>
              <a:rPr sz="950" kern="1200" spc="-6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50" kern="1200" spc="10" dirty="0">
                <a:solidFill>
                  <a:srgbClr val="FFFFFF"/>
                </a:solidFill>
                <a:latin typeface="Arial"/>
                <a:cs typeface="Arial"/>
              </a:rPr>
              <a:t>City</a:t>
            </a:r>
            <a:endParaRPr sz="95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988293" y="3020290"/>
            <a:ext cx="284018" cy="16286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 defTabSz="914400" hangingPunct="1">
              <a:spcBef>
                <a:spcPts val="130"/>
              </a:spcBef>
            </a:pPr>
            <a:r>
              <a:rPr sz="950" kern="1200" spc="15" dirty="0">
                <a:solidFill>
                  <a:srgbClr val="FFFFFF"/>
                </a:solidFill>
                <a:latin typeface="Arial"/>
                <a:cs typeface="Arial"/>
              </a:rPr>
              <a:t>CIP</a:t>
            </a:r>
            <a:endParaRPr sz="95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078693" y="2596097"/>
            <a:ext cx="3629121" cy="647613"/>
          </a:xfrm>
          <a:prstGeom prst="rect">
            <a:avLst/>
          </a:prstGeom>
        </p:spPr>
        <p:txBody>
          <a:bodyPr vert="horz" wrap="square" lIns="0" tIns="135890" rIns="0" bIns="0" rtlCol="0">
            <a:spAutoFit/>
          </a:bodyPr>
          <a:lstStyle/>
          <a:p>
            <a:pPr marL="859155" defTabSz="914400" hangingPunct="1">
              <a:spcBef>
                <a:spcPts val="1070"/>
              </a:spcBef>
            </a:pPr>
            <a:r>
              <a:rPr sz="1950" b="1" kern="1200" spc="10" dirty="0">
                <a:solidFill>
                  <a:srgbClr val="FFFFFF"/>
                </a:solidFill>
                <a:latin typeface="Arial"/>
                <a:cs typeface="Arial"/>
              </a:rPr>
              <a:t>Public</a:t>
            </a:r>
            <a:r>
              <a:rPr sz="1950" b="1" kern="1200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950" b="1" kern="1200" spc="10" dirty="0">
                <a:solidFill>
                  <a:srgbClr val="FFFFFF"/>
                </a:solidFill>
                <a:latin typeface="Arial"/>
                <a:cs typeface="Arial"/>
              </a:rPr>
              <a:t>Safety</a:t>
            </a:r>
            <a:endParaRPr sz="1950" kern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2700" defTabSz="914400" hangingPunct="1">
              <a:spcBef>
                <a:spcPts val="509"/>
              </a:spcBef>
              <a:tabLst>
                <a:tab pos="2003425" algn="l"/>
              </a:tabLst>
            </a:pPr>
            <a:r>
              <a:rPr sz="950" kern="1200" spc="5" dirty="0">
                <a:solidFill>
                  <a:srgbClr val="FFFFFF"/>
                </a:solidFill>
                <a:latin typeface="Arial"/>
                <a:cs typeface="Arial"/>
              </a:rPr>
              <a:t>Crisis </a:t>
            </a:r>
            <a:r>
              <a:rPr sz="950" kern="1200" spc="20" dirty="0">
                <a:solidFill>
                  <a:srgbClr val="FFFFFF"/>
                </a:solidFill>
                <a:latin typeface="Arial"/>
                <a:cs typeface="Arial"/>
              </a:rPr>
              <a:t>&amp;</a:t>
            </a:r>
            <a:r>
              <a:rPr sz="950" kern="1200" spc="7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50" kern="1200" spc="10" dirty="0">
                <a:solidFill>
                  <a:srgbClr val="FFFFFF"/>
                </a:solidFill>
                <a:latin typeface="Arial"/>
                <a:cs typeface="Arial"/>
              </a:rPr>
              <a:t>Disaster</a:t>
            </a:r>
            <a:r>
              <a:rPr sz="950" kern="1200" spc="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50" kern="1200" spc="15" dirty="0">
                <a:solidFill>
                  <a:srgbClr val="FFFFFF"/>
                </a:solidFill>
                <a:latin typeface="Arial"/>
                <a:cs typeface="Arial"/>
              </a:rPr>
              <a:t>management	Border</a:t>
            </a:r>
            <a:r>
              <a:rPr sz="950" kern="1200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50" kern="1200" spc="15" dirty="0">
                <a:solidFill>
                  <a:srgbClr val="FFFFFF"/>
                </a:solidFill>
                <a:latin typeface="Arial"/>
                <a:cs typeface="Arial"/>
              </a:rPr>
              <a:t>Protection</a:t>
            </a:r>
            <a:endParaRPr sz="950" kern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8598033" y="3020290"/>
            <a:ext cx="852055" cy="16286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 defTabSz="914400" hangingPunct="1">
              <a:spcBef>
                <a:spcPts val="130"/>
              </a:spcBef>
            </a:pPr>
            <a:r>
              <a:rPr sz="950" kern="1200" spc="10" dirty="0">
                <a:solidFill>
                  <a:srgbClr val="FFFFFF"/>
                </a:solidFill>
                <a:latin typeface="Arial"/>
                <a:cs typeface="Arial"/>
              </a:rPr>
              <a:t>Big </a:t>
            </a:r>
            <a:r>
              <a:rPr sz="950" kern="1200" spc="15" dirty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r>
              <a:rPr sz="950" kern="1200" spc="229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50" b="1" kern="1200" spc="3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5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3916217" y="3030162"/>
            <a:ext cx="9236" cy="28574"/>
          </a:xfrm>
          <a:custGeom>
            <a:avLst/>
            <a:gdLst/>
            <a:ahLst/>
            <a:cxnLst/>
            <a:rect l="l" t="t" r="r" b="b"/>
            <a:pathLst>
              <a:path w="7619" h="32385">
                <a:moveTo>
                  <a:pt x="7620" y="32004"/>
                </a:moveTo>
                <a:lnTo>
                  <a:pt x="0" y="32004"/>
                </a:lnTo>
                <a:lnTo>
                  <a:pt x="0" y="0"/>
                </a:lnTo>
                <a:lnTo>
                  <a:pt x="7620" y="0"/>
                </a:lnTo>
                <a:lnTo>
                  <a:pt x="7620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3916217" y="3078572"/>
            <a:ext cx="9236" cy="28574"/>
          </a:xfrm>
          <a:custGeom>
            <a:avLst/>
            <a:gdLst/>
            <a:ahLst/>
            <a:cxnLst/>
            <a:rect l="l" t="t" r="r" b="b"/>
            <a:pathLst>
              <a:path w="7619" h="32385">
                <a:moveTo>
                  <a:pt x="7620" y="32004"/>
                </a:moveTo>
                <a:lnTo>
                  <a:pt x="0" y="32004"/>
                </a:lnTo>
                <a:lnTo>
                  <a:pt x="0" y="0"/>
                </a:lnTo>
                <a:lnTo>
                  <a:pt x="7620" y="0"/>
                </a:lnTo>
                <a:lnTo>
                  <a:pt x="7620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3916217" y="3126981"/>
            <a:ext cx="9236" cy="28574"/>
          </a:xfrm>
          <a:custGeom>
            <a:avLst/>
            <a:gdLst/>
            <a:ahLst/>
            <a:cxnLst/>
            <a:rect l="l" t="t" r="r" b="b"/>
            <a:pathLst>
              <a:path w="7619" h="32385">
                <a:moveTo>
                  <a:pt x="7620" y="32004"/>
                </a:moveTo>
                <a:lnTo>
                  <a:pt x="0" y="32004"/>
                </a:lnTo>
                <a:lnTo>
                  <a:pt x="0" y="0"/>
                </a:lnTo>
                <a:lnTo>
                  <a:pt x="7620" y="0"/>
                </a:lnTo>
                <a:lnTo>
                  <a:pt x="7620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6312131" y="3030162"/>
            <a:ext cx="9236" cy="28574"/>
          </a:xfrm>
          <a:custGeom>
            <a:avLst/>
            <a:gdLst/>
            <a:ahLst/>
            <a:cxnLst/>
            <a:rect l="l" t="t" r="r" b="b"/>
            <a:pathLst>
              <a:path w="7620" h="32385">
                <a:moveTo>
                  <a:pt x="7620" y="32004"/>
                </a:moveTo>
                <a:lnTo>
                  <a:pt x="0" y="32004"/>
                </a:lnTo>
                <a:lnTo>
                  <a:pt x="0" y="0"/>
                </a:lnTo>
                <a:lnTo>
                  <a:pt x="7620" y="0"/>
                </a:lnTo>
                <a:lnTo>
                  <a:pt x="7620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6312131" y="3078572"/>
            <a:ext cx="9236" cy="28574"/>
          </a:xfrm>
          <a:custGeom>
            <a:avLst/>
            <a:gdLst/>
            <a:ahLst/>
            <a:cxnLst/>
            <a:rect l="l" t="t" r="r" b="b"/>
            <a:pathLst>
              <a:path w="7620" h="32385">
                <a:moveTo>
                  <a:pt x="7620" y="32004"/>
                </a:moveTo>
                <a:lnTo>
                  <a:pt x="0" y="32004"/>
                </a:lnTo>
                <a:lnTo>
                  <a:pt x="0" y="0"/>
                </a:lnTo>
                <a:lnTo>
                  <a:pt x="7620" y="0"/>
                </a:lnTo>
                <a:lnTo>
                  <a:pt x="7620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6312131" y="3126981"/>
            <a:ext cx="9236" cy="28574"/>
          </a:xfrm>
          <a:custGeom>
            <a:avLst/>
            <a:gdLst/>
            <a:ahLst/>
            <a:cxnLst/>
            <a:rect l="l" t="t" r="r" b="b"/>
            <a:pathLst>
              <a:path w="7620" h="32385">
                <a:moveTo>
                  <a:pt x="7620" y="32004"/>
                </a:moveTo>
                <a:lnTo>
                  <a:pt x="0" y="32004"/>
                </a:lnTo>
                <a:lnTo>
                  <a:pt x="0" y="0"/>
                </a:lnTo>
                <a:lnTo>
                  <a:pt x="7620" y="0"/>
                </a:lnTo>
                <a:lnTo>
                  <a:pt x="7620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7837978" y="3030162"/>
            <a:ext cx="9236" cy="28574"/>
          </a:xfrm>
          <a:custGeom>
            <a:avLst/>
            <a:gdLst/>
            <a:ahLst/>
            <a:cxnLst/>
            <a:rect l="l" t="t" r="r" b="b"/>
            <a:pathLst>
              <a:path w="7620" h="32385">
                <a:moveTo>
                  <a:pt x="7620" y="32004"/>
                </a:moveTo>
                <a:lnTo>
                  <a:pt x="0" y="32004"/>
                </a:lnTo>
                <a:lnTo>
                  <a:pt x="0" y="0"/>
                </a:lnTo>
                <a:lnTo>
                  <a:pt x="7620" y="0"/>
                </a:lnTo>
                <a:lnTo>
                  <a:pt x="7620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7837978" y="3078572"/>
            <a:ext cx="9236" cy="28574"/>
          </a:xfrm>
          <a:custGeom>
            <a:avLst/>
            <a:gdLst/>
            <a:ahLst/>
            <a:cxnLst/>
            <a:rect l="l" t="t" r="r" b="b"/>
            <a:pathLst>
              <a:path w="7620" h="32385">
                <a:moveTo>
                  <a:pt x="7620" y="32004"/>
                </a:moveTo>
                <a:lnTo>
                  <a:pt x="0" y="32004"/>
                </a:lnTo>
                <a:lnTo>
                  <a:pt x="0" y="0"/>
                </a:lnTo>
                <a:lnTo>
                  <a:pt x="7620" y="0"/>
                </a:lnTo>
                <a:lnTo>
                  <a:pt x="7620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7837978" y="3126981"/>
            <a:ext cx="9236" cy="28574"/>
          </a:xfrm>
          <a:custGeom>
            <a:avLst/>
            <a:gdLst/>
            <a:ahLst/>
            <a:cxnLst/>
            <a:rect l="l" t="t" r="r" b="b"/>
            <a:pathLst>
              <a:path w="7620" h="32385">
                <a:moveTo>
                  <a:pt x="7620" y="32004"/>
                </a:moveTo>
                <a:lnTo>
                  <a:pt x="0" y="32004"/>
                </a:lnTo>
                <a:lnTo>
                  <a:pt x="0" y="0"/>
                </a:lnTo>
                <a:lnTo>
                  <a:pt x="7620" y="0"/>
                </a:lnTo>
                <a:lnTo>
                  <a:pt x="7620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8423566" y="3030162"/>
            <a:ext cx="11545" cy="28574"/>
          </a:xfrm>
          <a:custGeom>
            <a:avLst/>
            <a:gdLst/>
            <a:ahLst/>
            <a:cxnLst/>
            <a:rect l="l" t="t" r="r" b="b"/>
            <a:pathLst>
              <a:path w="9525" h="32385">
                <a:moveTo>
                  <a:pt x="9144" y="32004"/>
                </a:moveTo>
                <a:lnTo>
                  <a:pt x="0" y="32004"/>
                </a:lnTo>
                <a:lnTo>
                  <a:pt x="0" y="0"/>
                </a:lnTo>
                <a:lnTo>
                  <a:pt x="9144" y="0"/>
                </a:lnTo>
                <a:lnTo>
                  <a:pt x="9144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8423566" y="3078572"/>
            <a:ext cx="11545" cy="28574"/>
          </a:xfrm>
          <a:custGeom>
            <a:avLst/>
            <a:gdLst/>
            <a:ahLst/>
            <a:cxnLst/>
            <a:rect l="l" t="t" r="r" b="b"/>
            <a:pathLst>
              <a:path w="9525" h="32385">
                <a:moveTo>
                  <a:pt x="9144" y="32004"/>
                </a:moveTo>
                <a:lnTo>
                  <a:pt x="0" y="32004"/>
                </a:lnTo>
                <a:lnTo>
                  <a:pt x="0" y="0"/>
                </a:lnTo>
                <a:lnTo>
                  <a:pt x="9144" y="0"/>
                </a:lnTo>
                <a:lnTo>
                  <a:pt x="9144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8423566" y="3126981"/>
            <a:ext cx="11545" cy="28574"/>
          </a:xfrm>
          <a:custGeom>
            <a:avLst/>
            <a:gdLst/>
            <a:ahLst/>
            <a:cxnLst/>
            <a:rect l="l" t="t" r="r" b="b"/>
            <a:pathLst>
              <a:path w="9525" h="32385">
                <a:moveTo>
                  <a:pt x="9144" y="32004"/>
                </a:moveTo>
                <a:lnTo>
                  <a:pt x="0" y="32004"/>
                </a:lnTo>
                <a:lnTo>
                  <a:pt x="0" y="0"/>
                </a:lnTo>
                <a:lnTo>
                  <a:pt x="9144" y="0"/>
                </a:lnTo>
                <a:lnTo>
                  <a:pt x="9144" y="320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45" name="object 45"/>
          <p:cNvSpPr txBox="1">
            <a:spLocks noGrp="1"/>
          </p:cNvSpPr>
          <p:nvPr>
            <p:ph type="title"/>
          </p:nvPr>
        </p:nvSpPr>
        <p:spPr>
          <a:xfrm>
            <a:off x="213242" y="628650"/>
            <a:ext cx="11795076" cy="75982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>
              <a:lnSpc>
                <a:spcPts val="3140"/>
              </a:lnSpc>
              <a:spcBef>
                <a:spcPts val="90"/>
              </a:spcBef>
            </a:pPr>
            <a:r>
              <a:rPr sz="1800" b="1" kern="1200" dirty="0">
                <a:solidFill>
                  <a:srgbClr val="002060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  <a:sym typeface="Helvetica"/>
              </a:rPr>
              <a:t>Collaborative Public Safety Solution</a:t>
            </a:r>
            <a:br>
              <a:rPr lang="en-US" sz="1800" b="1" kern="1200" dirty="0">
                <a:solidFill>
                  <a:srgbClr val="002060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  <a:sym typeface="Helvetica"/>
              </a:rPr>
            </a:br>
            <a:r>
              <a:rPr sz="1800" kern="1200" dirty="0">
                <a:solidFill>
                  <a:srgbClr val="002060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  <a:sym typeface="Helvetica"/>
              </a:rPr>
              <a:t>Collaboration, Command, Control, Communication, Cloud, Intelligence, Surveillance and Reconnaissance.</a:t>
            </a:r>
          </a:p>
        </p:txBody>
      </p:sp>
      <p:sp>
        <p:nvSpPr>
          <p:cNvPr id="46" name="object 46"/>
          <p:cNvSpPr/>
          <p:nvPr/>
        </p:nvSpPr>
        <p:spPr>
          <a:xfrm>
            <a:off x="4463013" y="5598551"/>
            <a:ext cx="570806" cy="360381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4588625" y="5641580"/>
            <a:ext cx="328815" cy="262218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744453" y="5044533"/>
            <a:ext cx="570806" cy="360381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809107" y="5053944"/>
            <a:ext cx="435955" cy="273872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10865659" y="5008225"/>
            <a:ext cx="570806" cy="360381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11009745" y="5041841"/>
            <a:ext cx="275244" cy="255494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2447638" y="2583720"/>
            <a:ext cx="570806" cy="36038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2551086" y="2644232"/>
            <a:ext cx="354675" cy="245409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9223433" y="2630784"/>
            <a:ext cx="570806" cy="361726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9332422" y="2689953"/>
            <a:ext cx="353291" cy="215153"/>
          </a:xfrm>
          <a:custGeom>
            <a:avLst/>
            <a:gdLst/>
            <a:ahLst/>
            <a:cxnLst/>
            <a:rect l="l" t="t" r="r" b="b"/>
            <a:pathLst>
              <a:path w="291465" h="243839">
                <a:moveTo>
                  <a:pt x="291083" y="243840"/>
                </a:moveTo>
                <a:lnTo>
                  <a:pt x="0" y="243840"/>
                </a:lnTo>
                <a:lnTo>
                  <a:pt x="0" y="219456"/>
                </a:lnTo>
                <a:lnTo>
                  <a:pt x="18288" y="219456"/>
                </a:lnTo>
                <a:lnTo>
                  <a:pt x="18288" y="51816"/>
                </a:lnTo>
                <a:lnTo>
                  <a:pt x="50291" y="51816"/>
                </a:lnTo>
                <a:lnTo>
                  <a:pt x="50291" y="0"/>
                </a:lnTo>
                <a:lnTo>
                  <a:pt x="240791" y="0"/>
                </a:lnTo>
                <a:lnTo>
                  <a:pt x="240791" y="6096"/>
                </a:lnTo>
                <a:lnTo>
                  <a:pt x="56388" y="6096"/>
                </a:lnTo>
                <a:lnTo>
                  <a:pt x="56388" y="56388"/>
                </a:lnTo>
                <a:lnTo>
                  <a:pt x="24383" y="56388"/>
                </a:lnTo>
                <a:lnTo>
                  <a:pt x="24383" y="225552"/>
                </a:lnTo>
                <a:lnTo>
                  <a:pt x="6095" y="225552"/>
                </a:lnTo>
                <a:lnTo>
                  <a:pt x="6095" y="237744"/>
                </a:lnTo>
                <a:lnTo>
                  <a:pt x="291083" y="237744"/>
                </a:lnTo>
                <a:lnTo>
                  <a:pt x="291083" y="243840"/>
                </a:lnTo>
                <a:close/>
              </a:path>
              <a:path w="291465" h="243839">
                <a:moveTo>
                  <a:pt x="291083" y="237744"/>
                </a:moveTo>
                <a:lnTo>
                  <a:pt x="284987" y="237744"/>
                </a:lnTo>
                <a:lnTo>
                  <a:pt x="284987" y="225552"/>
                </a:lnTo>
                <a:lnTo>
                  <a:pt x="265175" y="225552"/>
                </a:lnTo>
                <a:lnTo>
                  <a:pt x="265175" y="56388"/>
                </a:lnTo>
                <a:lnTo>
                  <a:pt x="234695" y="56388"/>
                </a:lnTo>
                <a:lnTo>
                  <a:pt x="234695" y="6096"/>
                </a:lnTo>
                <a:lnTo>
                  <a:pt x="240791" y="6096"/>
                </a:lnTo>
                <a:lnTo>
                  <a:pt x="240791" y="51816"/>
                </a:lnTo>
                <a:lnTo>
                  <a:pt x="272795" y="51816"/>
                </a:lnTo>
                <a:lnTo>
                  <a:pt x="272795" y="219456"/>
                </a:lnTo>
                <a:lnTo>
                  <a:pt x="291083" y="219456"/>
                </a:lnTo>
                <a:lnTo>
                  <a:pt x="291083" y="237744"/>
                </a:lnTo>
                <a:close/>
              </a:path>
              <a:path w="291465" h="243839">
                <a:moveTo>
                  <a:pt x="158495" y="83820"/>
                </a:moveTo>
                <a:lnTo>
                  <a:pt x="132588" y="83820"/>
                </a:lnTo>
                <a:lnTo>
                  <a:pt x="132588" y="62483"/>
                </a:lnTo>
                <a:lnTo>
                  <a:pt x="108203" y="62483"/>
                </a:lnTo>
                <a:lnTo>
                  <a:pt x="108203" y="42671"/>
                </a:lnTo>
                <a:lnTo>
                  <a:pt x="132588" y="42671"/>
                </a:lnTo>
                <a:lnTo>
                  <a:pt x="132588" y="21335"/>
                </a:lnTo>
                <a:lnTo>
                  <a:pt x="158495" y="21335"/>
                </a:lnTo>
                <a:lnTo>
                  <a:pt x="158495" y="25908"/>
                </a:lnTo>
                <a:lnTo>
                  <a:pt x="140207" y="25908"/>
                </a:lnTo>
                <a:lnTo>
                  <a:pt x="140207" y="47244"/>
                </a:lnTo>
                <a:lnTo>
                  <a:pt x="114300" y="47244"/>
                </a:lnTo>
                <a:lnTo>
                  <a:pt x="114300" y="57912"/>
                </a:lnTo>
                <a:lnTo>
                  <a:pt x="140207" y="57912"/>
                </a:lnTo>
                <a:lnTo>
                  <a:pt x="140207" y="77723"/>
                </a:lnTo>
                <a:lnTo>
                  <a:pt x="158495" y="77723"/>
                </a:lnTo>
                <a:lnTo>
                  <a:pt x="158495" y="83820"/>
                </a:lnTo>
                <a:close/>
              </a:path>
              <a:path w="291465" h="243839">
                <a:moveTo>
                  <a:pt x="158495" y="77723"/>
                </a:moveTo>
                <a:lnTo>
                  <a:pt x="152399" y="77723"/>
                </a:lnTo>
                <a:lnTo>
                  <a:pt x="152399" y="57912"/>
                </a:lnTo>
                <a:lnTo>
                  <a:pt x="176783" y="57912"/>
                </a:lnTo>
                <a:lnTo>
                  <a:pt x="176783" y="47244"/>
                </a:lnTo>
                <a:lnTo>
                  <a:pt x="152399" y="47244"/>
                </a:lnTo>
                <a:lnTo>
                  <a:pt x="152399" y="25908"/>
                </a:lnTo>
                <a:lnTo>
                  <a:pt x="158495" y="25908"/>
                </a:lnTo>
                <a:lnTo>
                  <a:pt x="158495" y="42671"/>
                </a:lnTo>
                <a:lnTo>
                  <a:pt x="182879" y="42671"/>
                </a:lnTo>
                <a:lnTo>
                  <a:pt x="182879" y="62483"/>
                </a:lnTo>
                <a:lnTo>
                  <a:pt x="158495" y="62483"/>
                </a:lnTo>
                <a:lnTo>
                  <a:pt x="158495" y="77723"/>
                </a:lnTo>
                <a:close/>
              </a:path>
              <a:path w="291465" h="243839">
                <a:moveTo>
                  <a:pt x="85343" y="94488"/>
                </a:moveTo>
                <a:lnTo>
                  <a:pt x="50291" y="94488"/>
                </a:lnTo>
                <a:lnTo>
                  <a:pt x="50291" y="65532"/>
                </a:lnTo>
                <a:lnTo>
                  <a:pt x="85343" y="65532"/>
                </a:lnTo>
                <a:lnTo>
                  <a:pt x="85343" y="71628"/>
                </a:lnTo>
                <a:lnTo>
                  <a:pt x="56388" y="71628"/>
                </a:lnTo>
                <a:lnTo>
                  <a:pt x="56388" y="89916"/>
                </a:lnTo>
                <a:lnTo>
                  <a:pt x="85343" y="89916"/>
                </a:lnTo>
                <a:lnTo>
                  <a:pt x="85343" y="94488"/>
                </a:lnTo>
                <a:close/>
              </a:path>
              <a:path w="291465" h="243839">
                <a:moveTo>
                  <a:pt x="240791" y="94488"/>
                </a:moveTo>
                <a:lnTo>
                  <a:pt x="205739" y="94488"/>
                </a:lnTo>
                <a:lnTo>
                  <a:pt x="205739" y="65532"/>
                </a:lnTo>
                <a:lnTo>
                  <a:pt x="240791" y="65532"/>
                </a:lnTo>
                <a:lnTo>
                  <a:pt x="240791" y="71628"/>
                </a:lnTo>
                <a:lnTo>
                  <a:pt x="211835" y="71628"/>
                </a:lnTo>
                <a:lnTo>
                  <a:pt x="211835" y="89916"/>
                </a:lnTo>
                <a:lnTo>
                  <a:pt x="240791" y="89916"/>
                </a:lnTo>
                <a:lnTo>
                  <a:pt x="240791" y="94488"/>
                </a:lnTo>
                <a:close/>
              </a:path>
              <a:path w="291465" h="243839">
                <a:moveTo>
                  <a:pt x="85343" y="89916"/>
                </a:moveTo>
                <a:lnTo>
                  <a:pt x="79247" y="89916"/>
                </a:lnTo>
                <a:lnTo>
                  <a:pt x="79247" y="71628"/>
                </a:lnTo>
                <a:lnTo>
                  <a:pt x="85343" y="71628"/>
                </a:lnTo>
                <a:lnTo>
                  <a:pt x="85343" y="89916"/>
                </a:lnTo>
                <a:close/>
              </a:path>
              <a:path w="291465" h="243839">
                <a:moveTo>
                  <a:pt x="240791" y="89916"/>
                </a:moveTo>
                <a:lnTo>
                  <a:pt x="234695" y="89916"/>
                </a:lnTo>
                <a:lnTo>
                  <a:pt x="234695" y="71628"/>
                </a:lnTo>
                <a:lnTo>
                  <a:pt x="240791" y="71628"/>
                </a:lnTo>
                <a:lnTo>
                  <a:pt x="240791" y="89916"/>
                </a:lnTo>
                <a:close/>
              </a:path>
              <a:path w="291465" h="243839">
                <a:moveTo>
                  <a:pt x="85343" y="135636"/>
                </a:moveTo>
                <a:lnTo>
                  <a:pt x="50291" y="135636"/>
                </a:lnTo>
                <a:lnTo>
                  <a:pt x="50291" y="105156"/>
                </a:lnTo>
                <a:lnTo>
                  <a:pt x="85343" y="105156"/>
                </a:lnTo>
                <a:lnTo>
                  <a:pt x="85343" y="109728"/>
                </a:lnTo>
                <a:lnTo>
                  <a:pt x="56388" y="109728"/>
                </a:lnTo>
                <a:lnTo>
                  <a:pt x="56388" y="128016"/>
                </a:lnTo>
                <a:lnTo>
                  <a:pt x="85343" y="128016"/>
                </a:lnTo>
                <a:lnTo>
                  <a:pt x="85343" y="135636"/>
                </a:lnTo>
                <a:close/>
              </a:path>
              <a:path w="291465" h="243839">
                <a:moveTo>
                  <a:pt x="135635" y="135636"/>
                </a:moveTo>
                <a:lnTo>
                  <a:pt x="102107" y="135636"/>
                </a:lnTo>
                <a:lnTo>
                  <a:pt x="102107" y="105156"/>
                </a:lnTo>
                <a:lnTo>
                  <a:pt x="135635" y="105156"/>
                </a:lnTo>
                <a:lnTo>
                  <a:pt x="135635" y="109728"/>
                </a:lnTo>
                <a:lnTo>
                  <a:pt x="109727" y="109728"/>
                </a:lnTo>
                <a:lnTo>
                  <a:pt x="109727" y="128016"/>
                </a:lnTo>
                <a:lnTo>
                  <a:pt x="135635" y="128016"/>
                </a:lnTo>
                <a:lnTo>
                  <a:pt x="135635" y="135636"/>
                </a:lnTo>
                <a:close/>
              </a:path>
              <a:path w="291465" h="243839">
                <a:moveTo>
                  <a:pt x="188975" y="135636"/>
                </a:moveTo>
                <a:lnTo>
                  <a:pt x="153923" y="135636"/>
                </a:lnTo>
                <a:lnTo>
                  <a:pt x="153923" y="105156"/>
                </a:lnTo>
                <a:lnTo>
                  <a:pt x="188975" y="105156"/>
                </a:lnTo>
                <a:lnTo>
                  <a:pt x="188975" y="109728"/>
                </a:lnTo>
                <a:lnTo>
                  <a:pt x="161543" y="109728"/>
                </a:lnTo>
                <a:lnTo>
                  <a:pt x="161543" y="128016"/>
                </a:lnTo>
                <a:lnTo>
                  <a:pt x="188975" y="128016"/>
                </a:lnTo>
                <a:lnTo>
                  <a:pt x="188975" y="135636"/>
                </a:lnTo>
                <a:close/>
              </a:path>
              <a:path w="291465" h="243839">
                <a:moveTo>
                  <a:pt x="240791" y="135636"/>
                </a:moveTo>
                <a:lnTo>
                  <a:pt x="205739" y="135636"/>
                </a:lnTo>
                <a:lnTo>
                  <a:pt x="205739" y="105156"/>
                </a:lnTo>
                <a:lnTo>
                  <a:pt x="240791" y="105156"/>
                </a:lnTo>
                <a:lnTo>
                  <a:pt x="240791" y="109728"/>
                </a:lnTo>
                <a:lnTo>
                  <a:pt x="211835" y="109728"/>
                </a:lnTo>
                <a:lnTo>
                  <a:pt x="211835" y="128016"/>
                </a:lnTo>
                <a:lnTo>
                  <a:pt x="240791" y="128016"/>
                </a:lnTo>
                <a:lnTo>
                  <a:pt x="240791" y="135636"/>
                </a:lnTo>
                <a:close/>
              </a:path>
              <a:path w="291465" h="243839">
                <a:moveTo>
                  <a:pt x="85343" y="128016"/>
                </a:moveTo>
                <a:lnTo>
                  <a:pt x="79247" y="128016"/>
                </a:lnTo>
                <a:lnTo>
                  <a:pt x="79247" y="109728"/>
                </a:lnTo>
                <a:lnTo>
                  <a:pt x="85343" y="109728"/>
                </a:lnTo>
                <a:lnTo>
                  <a:pt x="85343" y="128016"/>
                </a:lnTo>
                <a:close/>
              </a:path>
              <a:path w="291465" h="243839">
                <a:moveTo>
                  <a:pt x="135635" y="128016"/>
                </a:moveTo>
                <a:lnTo>
                  <a:pt x="129540" y="128016"/>
                </a:lnTo>
                <a:lnTo>
                  <a:pt x="129540" y="109728"/>
                </a:lnTo>
                <a:lnTo>
                  <a:pt x="135635" y="109728"/>
                </a:lnTo>
                <a:lnTo>
                  <a:pt x="135635" y="128016"/>
                </a:lnTo>
                <a:close/>
              </a:path>
              <a:path w="291465" h="243839">
                <a:moveTo>
                  <a:pt x="188975" y="128016"/>
                </a:moveTo>
                <a:lnTo>
                  <a:pt x="181355" y="128016"/>
                </a:lnTo>
                <a:lnTo>
                  <a:pt x="181355" y="109728"/>
                </a:lnTo>
                <a:lnTo>
                  <a:pt x="188975" y="109728"/>
                </a:lnTo>
                <a:lnTo>
                  <a:pt x="188975" y="128016"/>
                </a:lnTo>
                <a:close/>
              </a:path>
              <a:path w="291465" h="243839">
                <a:moveTo>
                  <a:pt x="240791" y="128016"/>
                </a:moveTo>
                <a:lnTo>
                  <a:pt x="234695" y="128016"/>
                </a:lnTo>
                <a:lnTo>
                  <a:pt x="234695" y="109728"/>
                </a:lnTo>
                <a:lnTo>
                  <a:pt x="240791" y="109728"/>
                </a:lnTo>
                <a:lnTo>
                  <a:pt x="240791" y="128016"/>
                </a:lnTo>
                <a:close/>
              </a:path>
              <a:path w="291465" h="243839">
                <a:moveTo>
                  <a:pt x="85343" y="173736"/>
                </a:moveTo>
                <a:lnTo>
                  <a:pt x="50291" y="173736"/>
                </a:lnTo>
                <a:lnTo>
                  <a:pt x="50291" y="144780"/>
                </a:lnTo>
                <a:lnTo>
                  <a:pt x="85343" y="144780"/>
                </a:lnTo>
                <a:lnTo>
                  <a:pt x="85343" y="149352"/>
                </a:lnTo>
                <a:lnTo>
                  <a:pt x="56388" y="149352"/>
                </a:lnTo>
                <a:lnTo>
                  <a:pt x="56388" y="169164"/>
                </a:lnTo>
                <a:lnTo>
                  <a:pt x="85343" y="169164"/>
                </a:lnTo>
                <a:lnTo>
                  <a:pt x="85343" y="173736"/>
                </a:lnTo>
                <a:close/>
              </a:path>
              <a:path w="291465" h="243839">
                <a:moveTo>
                  <a:pt x="135635" y="173736"/>
                </a:moveTo>
                <a:lnTo>
                  <a:pt x="102107" y="173736"/>
                </a:lnTo>
                <a:lnTo>
                  <a:pt x="102107" y="144780"/>
                </a:lnTo>
                <a:lnTo>
                  <a:pt x="135635" y="144780"/>
                </a:lnTo>
                <a:lnTo>
                  <a:pt x="135635" y="149352"/>
                </a:lnTo>
                <a:lnTo>
                  <a:pt x="109727" y="149352"/>
                </a:lnTo>
                <a:lnTo>
                  <a:pt x="109727" y="169164"/>
                </a:lnTo>
                <a:lnTo>
                  <a:pt x="135635" y="169164"/>
                </a:lnTo>
                <a:lnTo>
                  <a:pt x="135635" y="173736"/>
                </a:lnTo>
                <a:close/>
              </a:path>
              <a:path w="291465" h="243839">
                <a:moveTo>
                  <a:pt x="188975" y="173736"/>
                </a:moveTo>
                <a:lnTo>
                  <a:pt x="153923" y="173736"/>
                </a:lnTo>
                <a:lnTo>
                  <a:pt x="153923" y="144780"/>
                </a:lnTo>
                <a:lnTo>
                  <a:pt x="188975" y="144780"/>
                </a:lnTo>
                <a:lnTo>
                  <a:pt x="188975" y="149352"/>
                </a:lnTo>
                <a:lnTo>
                  <a:pt x="161543" y="149352"/>
                </a:lnTo>
                <a:lnTo>
                  <a:pt x="161543" y="169164"/>
                </a:lnTo>
                <a:lnTo>
                  <a:pt x="188975" y="169164"/>
                </a:lnTo>
                <a:lnTo>
                  <a:pt x="188975" y="173736"/>
                </a:lnTo>
                <a:close/>
              </a:path>
              <a:path w="291465" h="243839">
                <a:moveTo>
                  <a:pt x="240791" y="173736"/>
                </a:moveTo>
                <a:lnTo>
                  <a:pt x="205739" y="173736"/>
                </a:lnTo>
                <a:lnTo>
                  <a:pt x="205739" y="144780"/>
                </a:lnTo>
                <a:lnTo>
                  <a:pt x="240791" y="144780"/>
                </a:lnTo>
                <a:lnTo>
                  <a:pt x="240791" y="149352"/>
                </a:lnTo>
                <a:lnTo>
                  <a:pt x="211835" y="149352"/>
                </a:lnTo>
                <a:lnTo>
                  <a:pt x="211835" y="169164"/>
                </a:lnTo>
                <a:lnTo>
                  <a:pt x="240791" y="169164"/>
                </a:lnTo>
                <a:lnTo>
                  <a:pt x="240791" y="173736"/>
                </a:lnTo>
                <a:close/>
              </a:path>
              <a:path w="291465" h="243839">
                <a:moveTo>
                  <a:pt x="85343" y="169164"/>
                </a:moveTo>
                <a:lnTo>
                  <a:pt x="79247" y="169164"/>
                </a:lnTo>
                <a:lnTo>
                  <a:pt x="79247" y="149352"/>
                </a:lnTo>
                <a:lnTo>
                  <a:pt x="85343" y="149352"/>
                </a:lnTo>
                <a:lnTo>
                  <a:pt x="85343" y="169164"/>
                </a:lnTo>
                <a:close/>
              </a:path>
              <a:path w="291465" h="243839">
                <a:moveTo>
                  <a:pt x="135635" y="169164"/>
                </a:moveTo>
                <a:lnTo>
                  <a:pt x="129540" y="169164"/>
                </a:lnTo>
                <a:lnTo>
                  <a:pt x="129540" y="149352"/>
                </a:lnTo>
                <a:lnTo>
                  <a:pt x="135635" y="149352"/>
                </a:lnTo>
                <a:lnTo>
                  <a:pt x="135635" y="169164"/>
                </a:lnTo>
                <a:close/>
              </a:path>
              <a:path w="291465" h="243839">
                <a:moveTo>
                  <a:pt x="188975" y="169164"/>
                </a:moveTo>
                <a:lnTo>
                  <a:pt x="181355" y="169164"/>
                </a:lnTo>
                <a:lnTo>
                  <a:pt x="181355" y="149352"/>
                </a:lnTo>
                <a:lnTo>
                  <a:pt x="188975" y="149352"/>
                </a:lnTo>
                <a:lnTo>
                  <a:pt x="188975" y="169164"/>
                </a:lnTo>
                <a:close/>
              </a:path>
              <a:path w="291465" h="243839">
                <a:moveTo>
                  <a:pt x="240791" y="169164"/>
                </a:moveTo>
                <a:lnTo>
                  <a:pt x="234695" y="169164"/>
                </a:lnTo>
                <a:lnTo>
                  <a:pt x="234695" y="149352"/>
                </a:lnTo>
                <a:lnTo>
                  <a:pt x="240791" y="149352"/>
                </a:lnTo>
                <a:lnTo>
                  <a:pt x="240791" y="169164"/>
                </a:lnTo>
                <a:close/>
              </a:path>
              <a:path w="291465" h="243839">
                <a:moveTo>
                  <a:pt x="85343" y="213360"/>
                </a:moveTo>
                <a:lnTo>
                  <a:pt x="50291" y="213360"/>
                </a:lnTo>
                <a:lnTo>
                  <a:pt x="50291" y="184404"/>
                </a:lnTo>
                <a:lnTo>
                  <a:pt x="85343" y="184404"/>
                </a:lnTo>
                <a:lnTo>
                  <a:pt x="85343" y="188976"/>
                </a:lnTo>
                <a:lnTo>
                  <a:pt x="56388" y="188976"/>
                </a:lnTo>
                <a:lnTo>
                  <a:pt x="56388" y="208788"/>
                </a:lnTo>
                <a:lnTo>
                  <a:pt x="85343" y="208788"/>
                </a:lnTo>
                <a:lnTo>
                  <a:pt x="85343" y="213360"/>
                </a:lnTo>
                <a:close/>
              </a:path>
              <a:path w="291465" h="243839">
                <a:moveTo>
                  <a:pt x="173735" y="225552"/>
                </a:moveTo>
                <a:lnTo>
                  <a:pt x="115823" y="225552"/>
                </a:lnTo>
                <a:lnTo>
                  <a:pt x="115823" y="184404"/>
                </a:lnTo>
                <a:lnTo>
                  <a:pt x="173735" y="184404"/>
                </a:lnTo>
                <a:lnTo>
                  <a:pt x="173735" y="188976"/>
                </a:lnTo>
                <a:lnTo>
                  <a:pt x="123443" y="188976"/>
                </a:lnTo>
                <a:lnTo>
                  <a:pt x="123443" y="219456"/>
                </a:lnTo>
                <a:lnTo>
                  <a:pt x="173735" y="219456"/>
                </a:lnTo>
                <a:lnTo>
                  <a:pt x="173735" y="225552"/>
                </a:lnTo>
                <a:close/>
              </a:path>
              <a:path w="291465" h="243839">
                <a:moveTo>
                  <a:pt x="240791" y="213360"/>
                </a:moveTo>
                <a:lnTo>
                  <a:pt x="205739" y="213360"/>
                </a:lnTo>
                <a:lnTo>
                  <a:pt x="205739" y="184404"/>
                </a:lnTo>
                <a:lnTo>
                  <a:pt x="240791" y="184404"/>
                </a:lnTo>
                <a:lnTo>
                  <a:pt x="240791" y="188976"/>
                </a:lnTo>
                <a:lnTo>
                  <a:pt x="211835" y="188976"/>
                </a:lnTo>
                <a:lnTo>
                  <a:pt x="211835" y="208788"/>
                </a:lnTo>
                <a:lnTo>
                  <a:pt x="240791" y="208788"/>
                </a:lnTo>
                <a:lnTo>
                  <a:pt x="240791" y="213360"/>
                </a:lnTo>
                <a:close/>
              </a:path>
              <a:path w="291465" h="243839">
                <a:moveTo>
                  <a:pt x="85343" y="208788"/>
                </a:moveTo>
                <a:lnTo>
                  <a:pt x="79247" y="208788"/>
                </a:lnTo>
                <a:lnTo>
                  <a:pt x="79247" y="188976"/>
                </a:lnTo>
                <a:lnTo>
                  <a:pt x="85343" y="188976"/>
                </a:lnTo>
                <a:lnTo>
                  <a:pt x="85343" y="208788"/>
                </a:lnTo>
                <a:close/>
              </a:path>
              <a:path w="291465" h="243839">
                <a:moveTo>
                  <a:pt x="173735" y="219456"/>
                </a:moveTo>
                <a:lnTo>
                  <a:pt x="167639" y="219456"/>
                </a:lnTo>
                <a:lnTo>
                  <a:pt x="167639" y="188976"/>
                </a:lnTo>
                <a:lnTo>
                  <a:pt x="173735" y="188976"/>
                </a:lnTo>
                <a:lnTo>
                  <a:pt x="173735" y="219456"/>
                </a:lnTo>
                <a:close/>
              </a:path>
              <a:path w="291465" h="243839">
                <a:moveTo>
                  <a:pt x="240791" y="208788"/>
                </a:moveTo>
                <a:lnTo>
                  <a:pt x="234695" y="208788"/>
                </a:lnTo>
                <a:lnTo>
                  <a:pt x="234695" y="188976"/>
                </a:lnTo>
                <a:lnTo>
                  <a:pt x="240791" y="188976"/>
                </a:lnTo>
                <a:lnTo>
                  <a:pt x="240791" y="20878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9328727" y="2685917"/>
            <a:ext cx="360218" cy="222996"/>
          </a:xfrm>
          <a:custGeom>
            <a:avLst/>
            <a:gdLst/>
            <a:ahLst/>
            <a:cxnLst/>
            <a:rect l="l" t="t" r="r" b="b"/>
            <a:pathLst>
              <a:path w="297179" h="252730">
                <a:moveTo>
                  <a:pt x="48767" y="55880"/>
                </a:moveTo>
                <a:lnTo>
                  <a:pt x="48767" y="2540"/>
                </a:lnTo>
                <a:lnTo>
                  <a:pt x="51816" y="0"/>
                </a:lnTo>
                <a:lnTo>
                  <a:pt x="245364" y="0"/>
                </a:lnTo>
                <a:lnTo>
                  <a:pt x="246887" y="2540"/>
                </a:lnTo>
                <a:lnTo>
                  <a:pt x="246887" y="3810"/>
                </a:lnTo>
                <a:lnTo>
                  <a:pt x="57912" y="3810"/>
                </a:lnTo>
                <a:lnTo>
                  <a:pt x="53339" y="8890"/>
                </a:lnTo>
                <a:lnTo>
                  <a:pt x="56387" y="8890"/>
                </a:lnTo>
                <a:lnTo>
                  <a:pt x="56387" y="50800"/>
                </a:lnTo>
                <a:lnTo>
                  <a:pt x="53339" y="50800"/>
                </a:lnTo>
                <a:lnTo>
                  <a:pt x="48767" y="55880"/>
                </a:lnTo>
                <a:close/>
              </a:path>
              <a:path w="297179" h="252730">
                <a:moveTo>
                  <a:pt x="56387" y="8890"/>
                </a:moveTo>
                <a:lnTo>
                  <a:pt x="53339" y="8890"/>
                </a:lnTo>
                <a:lnTo>
                  <a:pt x="57912" y="3810"/>
                </a:lnTo>
                <a:lnTo>
                  <a:pt x="57912" y="5080"/>
                </a:lnTo>
                <a:lnTo>
                  <a:pt x="56387" y="8890"/>
                </a:lnTo>
                <a:close/>
              </a:path>
              <a:path w="297179" h="252730">
                <a:moveTo>
                  <a:pt x="56387" y="60960"/>
                </a:moveTo>
                <a:lnTo>
                  <a:pt x="56387" y="57785"/>
                </a:lnTo>
                <a:lnTo>
                  <a:pt x="57912" y="57150"/>
                </a:lnTo>
                <a:lnTo>
                  <a:pt x="57912" y="3810"/>
                </a:lnTo>
                <a:lnTo>
                  <a:pt x="239267" y="3810"/>
                </a:lnTo>
                <a:lnTo>
                  <a:pt x="239267" y="10160"/>
                </a:lnTo>
                <a:lnTo>
                  <a:pt x="64007" y="10160"/>
                </a:lnTo>
                <a:lnTo>
                  <a:pt x="59435" y="15240"/>
                </a:lnTo>
                <a:lnTo>
                  <a:pt x="64007" y="15240"/>
                </a:lnTo>
                <a:lnTo>
                  <a:pt x="64007" y="57150"/>
                </a:lnTo>
                <a:lnTo>
                  <a:pt x="59435" y="57150"/>
                </a:lnTo>
                <a:lnTo>
                  <a:pt x="56387" y="60960"/>
                </a:lnTo>
                <a:close/>
              </a:path>
              <a:path w="297179" h="252730">
                <a:moveTo>
                  <a:pt x="272796" y="64770"/>
                </a:moveTo>
                <a:lnTo>
                  <a:pt x="268223" y="64770"/>
                </a:lnTo>
                <a:lnTo>
                  <a:pt x="265176" y="60960"/>
                </a:lnTo>
                <a:lnTo>
                  <a:pt x="240792" y="60960"/>
                </a:lnTo>
                <a:lnTo>
                  <a:pt x="240792" y="8890"/>
                </a:lnTo>
                <a:lnTo>
                  <a:pt x="239267" y="5080"/>
                </a:lnTo>
                <a:lnTo>
                  <a:pt x="239267" y="3810"/>
                </a:lnTo>
                <a:lnTo>
                  <a:pt x="243839" y="8890"/>
                </a:lnTo>
                <a:lnTo>
                  <a:pt x="246887" y="8890"/>
                </a:lnTo>
                <a:lnTo>
                  <a:pt x="246887" y="50800"/>
                </a:lnTo>
                <a:lnTo>
                  <a:pt x="243839" y="50800"/>
                </a:lnTo>
                <a:lnTo>
                  <a:pt x="246887" y="55880"/>
                </a:lnTo>
                <a:lnTo>
                  <a:pt x="272796" y="55880"/>
                </a:lnTo>
                <a:lnTo>
                  <a:pt x="272796" y="57150"/>
                </a:lnTo>
                <a:lnTo>
                  <a:pt x="271271" y="57150"/>
                </a:lnTo>
                <a:lnTo>
                  <a:pt x="272796" y="58420"/>
                </a:lnTo>
                <a:lnTo>
                  <a:pt x="272796" y="64770"/>
                </a:lnTo>
                <a:close/>
              </a:path>
              <a:path w="297179" h="252730">
                <a:moveTo>
                  <a:pt x="246887" y="8890"/>
                </a:moveTo>
                <a:lnTo>
                  <a:pt x="243839" y="8890"/>
                </a:lnTo>
                <a:lnTo>
                  <a:pt x="239267" y="3810"/>
                </a:lnTo>
                <a:lnTo>
                  <a:pt x="246887" y="3810"/>
                </a:lnTo>
                <a:lnTo>
                  <a:pt x="246887" y="8890"/>
                </a:lnTo>
                <a:close/>
              </a:path>
              <a:path w="297179" h="252730">
                <a:moveTo>
                  <a:pt x="56387" y="57785"/>
                </a:moveTo>
                <a:lnTo>
                  <a:pt x="56387" y="8890"/>
                </a:lnTo>
                <a:lnTo>
                  <a:pt x="57912" y="5080"/>
                </a:lnTo>
                <a:lnTo>
                  <a:pt x="57912" y="57150"/>
                </a:lnTo>
                <a:lnTo>
                  <a:pt x="56387" y="57785"/>
                </a:lnTo>
                <a:close/>
              </a:path>
              <a:path w="297179" h="252730">
                <a:moveTo>
                  <a:pt x="240792" y="58420"/>
                </a:moveTo>
                <a:lnTo>
                  <a:pt x="239267" y="57150"/>
                </a:lnTo>
                <a:lnTo>
                  <a:pt x="239267" y="5080"/>
                </a:lnTo>
                <a:lnTo>
                  <a:pt x="240792" y="8890"/>
                </a:lnTo>
                <a:lnTo>
                  <a:pt x="240792" y="58420"/>
                </a:lnTo>
                <a:close/>
              </a:path>
              <a:path w="297179" h="252730">
                <a:moveTo>
                  <a:pt x="64007" y="15240"/>
                </a:moveTo>
                <a:lnTo>
                  <a:pt x="59435" y="15240"/>
                </a:lnTo>
                <a:lnTo>
                  <a:pt x="64007" y="10160"/>
                </a:lnTo>
                <a:lnTo>
                  <a:pt x="64007" y="15240"/>
                </a:lnTo>
                <a:close/>
              </a:path>
              <a:path w="297179" h="252730">
                <a:moveTo>
                  <a:pt x="233171" y="15240"/>
                </a:moveTo>
                <a:lnTo>
                  <a:pt x="64007" y="15240"/>
                </a:lnTo>
                <a:lnTo>
                  <a:pt x="64007" y="10160"/>
                </a:lnTo>
                <a:lnTo>
                  <a:pt x="233171" y="10160"/>
                </a:lnTo>
                <a:lnTo>
                  <a:pt x="233171" y="15240"/>
                </a:lnTo>
                <a:close/>
              </a:path>
              <a:path w="297179" h="252730">
                <a:moveTo>
                  <a:pt x="265176" y="64770"/>
                </a:moveTo>
                <a:lnTo>
                  <a:pt x="234696" y="64770"/>
                </a:lnTo>
                <a:lnTo>
                  <a:pt x="233171" y="63500"/>
                </a:lnTo>
                <a:lnTo>
                  <a:pt x="233171" y="10160"/>
                </a:lnTo>
                <a:lnTo>
                  <a:pt x="237744" y="15240"/>
                </a:lnTo>
                <a:lnTo>
                  <a:pt x="239267" y="15240"/>
                </a:lnTo>
                <a:lnTo>
                  <a:pt x="239267" y="57150"/>
                </a:lnTo>
                <a:lnTo>
                  <a:pt x="237744" y="57150"/>
                </a:lnTo>
                <a:lnTo>
                  <a:pt x="240792" y="60960"/>
                </a:lnTo>
                <a:lnTo>
                  <a:pt x="265176" y="60960"/>
                </a:lnTo>
                <a:lnTo>
                  <a:pt x="265176" y="64770"/>
                </a:lnTo>
                <a:close/>
              </a:path>
              <a:path w="297179" h="252730">
                <a:moveTo>
                  <a:pt x="239267" y="15240"/>
                </a:moveTo>
                <a:lnTo>
                  <a:pt x="237744" y="15240"/>
                </a:lnTo>
                <a:lnTo>
                  <a:pt x="233171" y="10160"/>
                </a:lnTo>
                <a:lnTo>
                  <a:pt x="239267" y="10160"/>
                </a:lnTo>
                <a:lnTo>
                  <a:pt x="239267" y="15240"/>
                </a:lnTo>
                <a:close/>
              </a:path>
              <a:path w="297179" h="252730">
                <a:moveTo>
                  <a:pt x="131064" y="46990"/>
                </a:moveTo>
                <a:lnTo>
                  <a:pt x="131064" y="22860"/>
                </a:lnTo>
                <a:lnTo>
                  <a:pt x="132587" y="20320"/>
                </a:lnTo>
                <a:lnTo>
                  <a:pt x="163067" y="20320"/>
                </a:lnTo>
                <a:lnTo>
                  <a:pt x="166116" y="22860"/>
                </a:lnTo>
                <a:lnTo>
                  <a:pt x="166116" y="25400"/>
                </a:lnTo>
                <a:lnTo>
                  <a:pt x="138683" y="25400"/>
                </a:lnTo>
                <a:lnTo>
                  <a:pt x="135635" y="27940"/>
                </a:lnTo>
                <a:lnTo>
                  <a:pt x="138683" y="27940"/>
                </a:lnTo>
                <a:lnTo>
                  <a:pt x="138683" y="41910"/>
                </a:lnTo>
                <a:lnTo>
                  <a:pt x="135635" y="41910"/>
                </a:lnTo>
                <a:lnTo>
                  <a:pt x="131064" y="46990"/>
                </a:lnTo>
                <a:close/>
              </a:path>
              <a:path w="297179" h="252730">
                <a:moveTo>
                  <a:pt x="138683" y="27940"/>
                </a:moveTo>
                <a:lnTo>
                  <a:pt x="135635" y="27940"/>
                </a:lnTo>
                <a:lnTo>
                  <a:pt x="138683" y="25400"/>
                </a:lnTo>
                <a:lnTo>
                  <a:pt x="138683" y="27940"/>
                </a:lnTo>
                <a:close/>
              </a:path>
              <a:path w="297179" h="252730">
                <a:moveTo>
                  <a:pt x="138683" y="27940"/>
                </a:moveTo>
                <a:lnTo>
                  <a:pt x="138683" y="25400"/>
                </a:lnTo>
                <a:lnTo>
                  <a:pt x="156971" y="25400"/>
                </a:lnTo>
                <a:lnTo>
                  <a:pt x="156971" y="26670"/>
                </a:lnTo>
                <a:lnTo>
                  <a:pt x="140207" y="26670"/>
                </a:lnTo>
                <a:lnTo>
                  <a:pt x="138683" y="27940"/>
                </a:lnTo>
                <a:close/>
              </a:path>
              <a:path w="297179" h="252730">
                <a:moveTo>
                  <a:pt x="181355" y="49530"/>
                </a:moveTo>
                <a:lnTo>
                  <a:pt x="160019" y="49530"/>
                </a:lnTo>
                <a:lnTo>
                  <a:pt x="158496" y="48895"/>
                </a:lnTo>
                <a:lnTo>
                  <a:pt x="158496" y="27940"/>
                </a:lnTo>
                <a:lnTo>
                  <a:pt x="156971" y="26670"/>
                </a:lnTo>
                <a:lnTo>
                  <a:pt x="156971" y="25400"/>
                </a:lnTo>
                <a:lnTo>
                  <a:pt x="161544" y="27940"/>
                </a:lnTo>
                <a:lnTo>
                  <a:pt x="166116" y="27940"/>
                </a:lnTo>
                <a:lnTo>
                  <a:pt x="166116" y="41910"/>
                </a:lnTo>
                <a:lnTo>
                  <a:pt x="161544" y="41910"/>
                </a:lnTo>
                <a:lnTo>
                  <a:pt x="166116" y="46990"/>
                </a:lnTo>
                <a:lnTo>
                  <a:pt x="181355" y="46990"/>
                </a:lnTo>
                <a:lnTo>
                  <a:pt x="181355" y="49530"/>
                </a:lnTo>
                <a:close/>
              </a:path>
              <a:path w="297179" h="252730">
                <a:moveTo>
                  <a:pt x="166116" y="27940"/>
                </a:moveTo>
                <a:lnTo>
                  <a:pt x="161544" y="27940"/>
                </a:lnTo>
                <a:lnTo>
                  <a:pt x="156971" y="25400"/>
                </a:lnTo>
                <a:lnTo>
                  <a:pt x="166116" y="25400"/>
                </a:lnTo>
                <a:lnTo>
                  <a:pt x="166116" y="27940"/>
                </a:lnTo>
                <a:close/>
              </a:path>
              <a:path w="297179" h="252730">
                <a:moveTo>
                  <a:pt x="138683" y="50800"/>
                </a:moveTo>
                <a:lnTo>
                  <a:pt x="138683" y="27940"/>
                </a:lnTo>
                <a:lnTo>
                  <a:pt x="140207" y="26670"/>
                </a:lnTo>
                <a:lnTo>
                  <a:pt x="156971" y="26670"/>
                </a:lnTo>
                <a:lnTo>
                  <a:pt x="156971" y="30480"/>
                </a:lnTo>
                <a:lnTo>
                  <a:pt x="146303" y="30480"/>
                </a:lnTo>
                <a:lnTo>
                  <a:pt x="143255" y="34290"/>
                </a:lnTo>
                <a:lnTo>
                  <a:pt x="146303" y="34290"/>
                </a:lnTo>
                <a:lnTo>
                  <a:pt x="146303" y="46990"/>
                </a:lnTo>
                <a:lnTo>
                  <a:pt x="143255" y="46990"/>
                </a:lnTo>
                <a:lnTo>
                  <a:pt x="138683" y="50800"/>
                </a:lnTo>
                <a:close/>
              </a:path>
              <a:path w="297179" h="252730">
                <a:moveTo>
                  <a:pt x="158496" y="48895"/>
                </a:moveTo>
                <a:lnTo>
                  <a:pt x="156971" y="48260"/>
                </a:lnTo>
                <a:lnTo>
                  <a:pt x="156971" y="26670"/>
                </a:lnTo>
                <a:lnTo>
                  <a:pt x="158496" y="27940"/>
                </a:lnTo>
                <a:lnTo>
                  <a:pt x="158496" y="48895"/>
                </a:lnTo>
                <a:close/>
              </a:path>
              <a:path w="297179" h="252730">
                <a:moveTo>
                  <a:pt x="146303" y="34290"/>
                </a:moveTo>
                <a:lnTo>
                  <a:pt x="143255" y="34290"/>
                </a:lnTo>
                <a:lnTo>
                  <a:pt x="146303" y="30480"/>
                </a:lnTo>
                <a:lnTo>
                  <a:pt x="146303" y="34290"/>
                </a:lnTo>
                <a:close/>
              </a:path>
              <a:path w="297179" h="252730">
                <a:moveTo>
                  <a:pt x="150876" y="34290"/>
                </a:moveTo>
                <a:lnTo>
                  <a:pt x="146303" y="34290"/>
                </a:lnTo>
                <a:lnTo>
                  <a:pt x="146303" y="30480"/>
                </a:lnTo>
                <a:lnTo>
                  <a:pt x="150876" y="30480"/>
                </a:lnTo>
                <a:lnTo>
                  <a:pt x="150876" y="34290"/>
                </a:lnTo>
                <a:close/>
              </a:path>
              <a:path w="297179" h="252730">
                <a:moveTo>
                  <a:pt x="175260" y="54610"/>
                </a:moveTo>
                <a:lnTo>
                  <a:pt x="152400" y="54610"/>
                </a:lnTo>
                <a:lnTo>
                  <a:pt x="150876" y="53340"/>
                </a:lnTo>
                <a:lnTo>
                  <a:pt x="150876" y="30480"/>
                </a:lnTo>
                <a:lnTo>
                  <a:pt x="155448" y="34290"/>
                </a:lnTo>
                <a:lnTo>
                  <a:pt x="156971" y="34290"/>
                </a:lnTo>
                <a:lnTo>
                  <a:pt x="156971" y="46990"/>
                </a:lnTo>
                <a:lnTo>
                  <a:pt x="155448" y="46990"/>
                </a:lnTo>
                <a:lnTo>
                  <a:pt x="158496" y="50800"/>
                </a:lnTo>
                <a:lnTo>
                  <a:pt x="175260" y="50800"/>
                </a:lnTo>
                <a:lnTo>
                  <a:pt x="175260" y="54610"/>
                </a:lnTo>
                <a:close/>
              </a:path>
              <a:path w="297179" h="252730">
                <a:moveTo>
                  <a:pt x="156971" y="34290"/>
                </a:moveTo>
                <a:lnTo>
                  <a:pt x="155448" y="34290"/>
                </a:lnTo>
                <a:lnTo>
                  <a:pt x="150876" y="30480"/>
                </a:lnTo>
                <a:lnTo>
                  <a:pt x="156971" y="30480"/>
                </a:lnTo>
                <a:lnTo>
                  <a:pt x="156971" y="34290"/>
                </a:lnTo>
                <a:close/>
              </a:path>
              <a:path w="297179" h="252730">
                <a:moveTo>
                  <a:pt x="131064" y="71120"/>
                </a:moveTo>
                <a:lnTo>
                  <a:pt x="109728" y="71120"/>
                </a:lnTo>
                <a:lnTo>
                  <a:pt x="106680" y="69850"/>
                </a:lnTo>
                <a:lnTo>
                  <a:pt x="106680" y="43180"/>
                </a:lnTo>
                <a:lnTo>
                  <a:pt x="109728" y="41910"/>
                </a:lnTo>
                <a:lnTo>
                  <a:pt x="131064" y="41910"/>
                </a:lnTo>
                <a:lnTo>
                  <a:pt x="131064" y="46990"/>
                </a:lnTo>
                <a:lnTo>
                  <a:pt x="114300" y="46990"/>
                </a:lnTo>
                <a:lnTo>
                  <a:pt x="112776" y="48260"/>
                </a:lnTo>
                <a:lnTo>
                  <a:pt x="112776" y="48683"/>
                </a:lnTo>
                <a:lnTo>
                  <a:pt x="111251" y="49530"/>
                </a:lnTo>
                <a:lnTo>
                  <a:pt x="112776" y="49530"/>
                </a:lnTo>
                <a:lnTo>
                  <a:pt x="112776" y="63500"/>
                </a:lnTo>
                <a:lnTo>
                  <a:pt x="111251" y="63500"/>
                </a:lnTo>
                <a:lnTo>
                  <a:pt x="115823" y="66040"/>
                </a:lnTo>
                <a:lnTo>
                  <a:pt x="131064" y="66040"/>
                </a:lnTo>
                <a:lnTo>
                  <a:pt x="131064" y="71120"/>
                </a:lnTo>
                <a:close/>
              </a:path>
              <a:path w="297179" h="252730">
                <a:moveTo>
                  <a:pt x="138683" y="71120"/>
                </a:moveTo>
                <a:lnTo>
                  <a:pt x="135635" y="71120"/>
                </a:lnTo>
                <a:lnTo>
                  <a:pt x="131064" y="66040"/>
                </a:lnTo>
                <a:lnTo>
                  <a:pt x="115823" y="66040"/>
                </a:lnTo>
                <a:lnTo>
                  <a:pt x="115823" y="46990"/>
                </a:lnTo>
                <a:lnTo>
                  <a:pt x="131064" y="46990"/>
                </a:lnTo>
                <a:lnTo>
                  <a:pt x="135635" y="41910"/>
                </a:lnTo>
                <a:lnTo>
                  <a:pt x="138683" y="41910"/>
                </a:lnTo>
                <a:lnTo>
                  <a:pt x="138683" y="48260"/>
                </a:lnTo>
                <a:lnTo>
                  <a:pt x="137160" y="49530"/>
                </a:lnTo>
                <a:lnTo>
                  <a:pt x="138683" y="49530"/>
                </a:lnTo>
                <a:lnTo>
                  <a:pt x="138683" y="50800"/>
                </a:lnTo>
                <a:lnTo>
                  <a:pt x="120396" y="50800"/>
                </a:lnTo>
                <a:lnTo>
                  <a:pt x="117348" y="54610"/>
                </a:lnTo>
                <a:lnTo>
                  <a:pt x="120396" y="54610"/>
                </a:lnTo>
                <a:lnTo>
                  <a:pt x="120396" y="57150"/>
                </a:lnTo>
                <a:lnTo>
                  <a:pt x="117348" y="57150"/>
                </a:lnTo>
                <a:lnTo>
                  <a:pt x="120396" y="62230"/>
                </a:lnTo>
                <a:lnTo>
                  <a:pt x="138683" y="62230"/>
                </a:lnTo>
                <a:lnTo>
                  <a:pt x="138683" y="63500"/>
                </a:lnTo>
                <a:lnTo>
                  <a:pt x="137160" y="63500"/>
                </a:lnTo>
                <a:lnTo>
                  <a:pt x="138683" y="64770"/>
                </a:lnTo>
                <a:lnTo>
                  <a:pt x="138683" y="71120"/>
                </a:lnTo>
                <a:close/>
              </a:path>
              <a:path w="297179" h="252730">
                <a:moveTo>
                  <a:pt x="166116" y="46990"/>
                </a:moveTo>
                <a:lnTo>
                  <a:pt x="161544" y="41910"/>
                </a:lnTo>
                <a:lnTo>
                  <a:pt x="166116" y="41910"/>
                </a:lnTo>
                <a:lnTo>
                  <a:pt x="166116" y="46990"/>
                </a:lnTo>
                <a:close/>
              </a:path>
              <a:path w="297179" h="252730">
                <a:moveTo>
                  <a:pt x="188976" y="49530"/>
                </a:moveTo>
                <a:lnTo>
                  <a:pt x="185928" y="49530"/>
                </a:lnTo>
                <a:lnTo>
                  <a:pt x="184403" y="48683"/>
                </a:lnTo>
                <a:lnTo>
                  <a:pt x="184403" y="48260"/>
                </a:lnTo>
                <a:lnTo>
                  <a:pt x="181355" y="46990"/>
                </a:lnTo>
                <a:lnTo>
                  <a:pt x="166116" y="46990"/>
                </a:lnTo>
                <a:lnTo>
                  <a:pt x="166116" y="41910"/>
                </a:lnTo>
                <a:lnTo>
                  <a:pt x="187451" y="41910"/>
                </a:lnTo>
                <a:lnTo>
                  <a:pt x="188976" y="43180"/>
                </a:lnTo>
                <a:lnTo>
                  <a:pt x="188976" y="49530"/>
                </a:lnTo>
                <a:close/>
              </a:path>
              <a:path w="297179" h="252730">
                <a:moveTo>
                  <a:pt x="112776" y="48683"/>
                </a:moveTo>
                <a:lnTo>
                  <a:pt x="112776" y="48260"/>
                </a:lnTo>
                <a:lnTo>
                  <a:pt x="114300" y="46990"/>
                </a:lnTo>
                <a:lnTo>
                  <a:pt x="115823" y="46990"/>
                </a:lnTo>
                <a:lnTo>
                  <a:pt x="112776" y="48683"/>
                </a:lnTo>
                <a:close/>
              </a:path>
              <a:path w="297179" h="252730">
                <a:moveTo>
                  <a:pt x="115823" y="64770"/>
                </a:moveTo>
                <a:lnTo>
                  <a:pt x="114300" y="64770"/>
                </a:lnTo>
                <a:lnTo>
                  <a:pt x="112776" y="63500"/>
                </a:lnTo>
                <a:lnTo>
                  <a:pt x="112776" y="48683"/>
                </a:lnTo>
                <a:lnTo>
                  <a:pt x="115823" y="46990"/>
                </a:lnTo>
                <a:lnTo>
                  <a:pt x="115823" y="64770"/>
                </a:lnTo>
                <a:close/>
              </a:path>
              <a:path w="297179" h="252730">
                <a:moveTo>
                  <a:pt x="144780" y="54610"/>
                </a:moveTo>
                <a:lnTo>
                  <a:pt x="120396" y="54610"/>
                </a:lnTo>
                <a:lnTo>
                  <a:pt x="120396" y="50800"/>
                </a:lnTo>
                <a:lnTo>
                  <a:pt x="138683" y="50800"/>
                </a:lnTo>
                <a:lnTo>
                  <a:pt x="143255" y="46990"/>
                </a:lnTo>
                <a:lnTo>
                  <a:pt x="146303" y="46990"/>
                </a:lnTo>
                <a:lnTo>
                  <a:pt x="146303" y="53340"/>
                </a:lnTo>
                <a:lnTo>
                  <a:pt x="144780" y="54610"/>
                </a:lnTo>
                <a:close/>
              </a:path>
              <a:path w="297179" h="252730">
                <a:moveTo>
                  <a:pt x="158496" y="50800"/>
                </a:moveTo>
                <a:lnTo>
                  <a:pt x="155448" y="46990"/>
                </a:lnTo>
                <a:lnTo>
                  <a:pt x="156971" y="46990"/>
                </a:lnTo>
                <a:lnTo>
                  <a:pt x="156971" y="48260"/>
                </a:lnTo>
                <a:lnTo>
                  <a:pt x="158496" y="48895"/>
                </a:lnTo>
                <a:lnTo>
                  <a:pt x="158496" y="50800"/>
                </a:lnTo>
                <a:close/>
              </a:path>
              <a:path w="297179" h="252730">
                <a:moveTo>
                  <a:pt x="181355" y="64770"/>
                </a:moveTo>
                <a:lnTo>
                  <a:pt x="181355" y="46990"/>
                </a:lnTo>
                <a:lnTo>
                  <a:pt x="184403" y="48683"/>
                </a:lnTo>
                <a:lnTo>
                  <a:pt x="184403" y="63500"/>
                </a:lnTo>
                <a:lnTo>
                  <a:pt x="181355" y="64770"/>
                </a:lnTo>
                <a:close/>
              </a:path>
              <a:path w="297179" h="252730">
                <a:moveTo>
                  <a:pt x="184403" y="48683"/>
                </a:moveTo>
                <a:lnTo>
                  <a:pt x="181355" y="46990"/>
                </a:lnTo>
                <a:lnTo>
                  <a:pt x="184403" y="48260"/>
                </a:lnTo>
                <a:lnTo>
                  <a:pt x="184403" y="48683"/>
                </a:lnTo>
                <a:close/>
              </a:path>
              <a:path w="297179" h="252730">
                <a:moveTo>
                  <a:pt x="138683" y="49530"/>
                </a:moveTo>
                <a:lnTo>
                  <a:pt x="137160" y="49530"/>
                </a:lnTo>
                <a:lnTo>
                  <a:pt x="138683" y="48260"/>
                </a:lnTo>
                <a:lnTo>
                  <a:pt x="138683" y="49530"/>
                </a:lnTo>
                <a:close/>
              </a:path>
              <a:path w="297179" h="252730">
                <a:moveTo>
                  <a:pt x="112776" y="49530"/>
                </a:moveTo>
                <a:lnTo>
                  <a:pt x="111251" y="49530"/>
                </a:lnTo>
                <a:lnTo>
                  <a:pt x="112776" y="48683"/>
                </a:lnTo>
                <a:lnTo>
                  <a:pt x="112776" y="49530"/>
                </a:lnTo>
                <a:close/>
              </a:path>
              <a:path w="297179" h="252730">
                <a:moveTo>
                  <a:pt x="181355" y="66040"/>
                </a:moveTo>
                <a:lnTo>
                  <a:pt x="181355" y="64770"/>
                </a:lnTo>
                <a:lnTo>
                  <a:pt x="184403" y="63500"/>
                </a:lnTo>
                <a:lnTo>
                  <a:pt x="184403" y="48683"/>
                </a:lnTo>
                <a:lnTo>
                  <a:pt x="185928" y="49530"/>
                </a:lnTo>
                <a:lnTo>
                  <a:pt x="188976" y="49530"/>
                </a:lnTo>
                <a:lnTo>
                  <a:pt x="188976" y="63500"/>
                </a:lnTo>
                <a:lnTo>
                  <a:pt x="185928" y="63500"/>
                </a:lnTo>
                <a:lnTo>
                  <a:pt x="181355" y="66040"/>
                </a:lnTo>
                <a:close/>
              </a:path>
              <a:path w="297179" h="252730">
                <a:moveTo>
                  <a:pt x="181355" y="54610"/>
                </a:moveTo>
                <a:lnTo>
                  <a:pt x="179832" y="54610"/>
                </a:lnTo>
                <a:lnTo>
                  <a:pt x="175260" y="50800"/>
                </a:lnTo>
                <a:lnTo>
                  <a:pt x="158496" y="50800"/>
                </a:lnTo>
                <a:lnTo>
                  <a:pt x="158496" y="48895"/>
                </a:lnTo>
                <a:lnTo>
                  <a:pt x="160019" y="49530"/>
                </a:lnTo>
                <a:lnTo>
                  <a:pt x="181355" y="49530"/>
                </a:lnTo>
                <a:lnTo>
                  <a:pt x="181355" y="54610"/>
                </a:lnTo>
                <a:close/>
              </a:path>
              <a:path w="297179" h="252730">
                <a:moveTo>
                  <a:pt x="18287" y="223520"/>
                </a:moveTo>
                <a:lnTo>
                  <a:pt x="18287" y="53340"/>
                </a:lnTo>
                <a:lnTo>
                  <a:pt x="19812" y="50800"/>
                </a:lnTo>
                <a:lnTo>
                  <a:pt x="48767" y="50800"/>
                </a:lnTo>
                <a:lnTo>
                  <a:pt x="48767" y="55880"/>
                </a:lnTo>
                <a:lnTo>
                  <a:pt x="25907" y="55880"/>
                </a:lnTo>
                <a:lnTo>
                  <a:pt x="21335" y="58420"/>
                </a:lnTo>
                <a:lnTo>
                  <a:pt x="24383" y="58420"/>
                </a:lnTo>
                <a:lnTo>
                  <a:pt x="24383" y="220980"/>
                </a:lnTo>
                <a:lnTo>
                  <a:pt x="21335" y="220980"/>
                </a:lnTo>
                <a:lnTo>
                  <a:pt x="18287" y="223520"/>
                </a:lnTo>
                <a:close/>
              </a:path>
              <a:path w="297179" h="252730">
                <a:moveTo>
                  <a:pt x="24383" y="229870"/>
                </a:moveTo>
                <a:lnTo>
                  <a:pt x="24383" y="228600"/>
                </a:lnTo>
                <a:lnTo>
                  <a:pt x="25907" y="226060"/>
                </a:lnTo>
                <a:lnTo>
                  <a:pt x="25907" y="55880"/>
                </a:lnTo>
                <a:lnTo>
                  <a:pt x="48767" y="55880"/>
                </a:lnTo>
                <a:lnTo>
                  <a:pt x="53339" y="50800"/>
                </a:lnTo>
                <a:lnTo>
                  <a:pt x="56387" y="50800"/>
                </a:lnTo>
                <a:lnTo>
                  <a:pt x="56387" y="57785"/>
                </a:lnTo>
                <a:lnTo>
                  <a:pt x="54864" y="58420"/>
                </a:lnTo>
                <a:lnTo>
                  <a:pt x="56387" y="58420"/>
                </a:lnTo>
                <a:lnTo>
                  <a:pt x="56387" y="60960"/>
                </a:lnTo>
                <a:lnTo>
                  <a:pt x="32003" y="60960"/>
                </a:lnTo>
                <a:lnTo>
                  <a:pt x="27432" y="64770"/>
                </a:lnTo>
                <a:lnTo>
                  <a:pt x="32003" y="64770"/>
                </a:lnTo>
                <a:lnTo>
                  <a:pt x="32003" y="224790"/>
                </a:lnTo>
                <a:lnTo>
                  <a:pt x="27432" y="224790"/>
                </a:lnTo>
                <a:lnTo>
                  <a:pt x="24383" y="229870"/>
                </a:lnTo>
                <a:close/>
              </a:path>
              <a:path w="297179" h="252730">
                <a:moveTo>
                  <a:pt x="120396" y="54610"/>
                </a:moveTo>
                <a:lnTo>
                  <a:pt x="117348" y="54610"/>
                </a:lnTo>
                <a:lnTo>
                  <a:pt x="120396" y="50800"/>
                </a:lnTo>
                <a:lnTo>
                  <a:pt x="120396" y="54610"/>
                </a:lnTo>
                <a:close/>
              </a:path>
              <a:path w="297179" h="252730">
                <a:moveTo>
                  <a:pt x="175260" y="62230"/>
                </a:moveTo>
                <a:lnTo>
                  <a:pt x="175260" y="50800"/>
                </a:lnTo>
                <a:lnTo>
                  <a:pt x="179832" y="54610"/>
                </a:lnTo>
                <a:lnTo>
                  <a:pt x="181355" y="54610"/>
                </a:lnTo>
                <a:lnTo>
                  <a:pt x="181355" y="57150"/>
                </a:lnTo>
                <a:lnTo>
                  <a:pt x="179832" y="57150"/>
                </a:lnTo>
                <a:lnTo>
                  <a:pt x="175260" y="62230"/>
                </a:lnTo>
                <a:close/>
              </a:path>
              <a:path w="297179" h="252730">
                <a:moveTo>
                  <a:pt x="246887" y="55880"/>
                </a:moveTo>
                <a:lnTo>
                  <a:pt x="243839" y="50800"/>
                </a:lnTo>
                <a:lnTo>
                  <a:pt x="246887" y="50800"/>
                </a:lnTo>
                <a:lnTo>
                  <a:pt x="246887" y="55880"/>
                </a:lnTo>
                <a:close/>
              </a:path>
              <a:path w="297179" h="252730">
                <a:moveTo>
                  <a:pt x="280416" y="58420"/>
                </a:moveTo>
                <a:lnTo>
                  <a:pt x="275844" y="58420"/>
                </a:lnTo>
                <a:lnTo>
                  <a:pt x="272796" y="55880"/>
                </a:lnTo>
                <a:lnTo>
                  <a:pt x="246887" y="55880"/>
                </a:lnTo>
                <a:lnTo>
                  <a:pt x="246887" y="50800"/>
                </a:lnTo>
                <a:lnTo>
                  <a:pt x="278892" y="50800"/>
                </a:lnTo>
                <a:lnTo>
                  <a:pt x="280416" y="53340"/>
                </a:lnTo>
                <a:lnTo>
                  <a:pt x="280416" y="58420"/>
                </a:lnTo>
                <a:close/>
              </a:path>
              <a:path w="297179" h="252730">
                <a:moveTo>
                  <a:pt x="24383" y="58420"/>
                </a:moveTo>
                <a:lnTo>
                  <a:pt x="21335" y="58420"/>
                </a:lnTo>
                <a:lnTo>
                  <a:pt x="25907" y="55880"/>
                </a:lnTo>
                <a:lnTo>
                  <a:pt x="25907" y="57150"/>
                </a:lnTo>
                <a:lnTo>
                  <a:pt x="24383" y="58420"/>
                </a:lnTo>
                <a:close/>
              </a:path>
              <a:path w="297179" h="252730">
                <a:moveTo>
                  <a:pt x="289560" y="228600"/>
                </a:moveTo>
                <a:lnTo>
                  <a:pt x="274319" y="228600"/>
                </a:lnTo>
                <a:lnTo>
                  <a:pt x="272796" y="226060"/>
                </a:lnTo>
                <a:lnTo>
                  <a:pt x="272796" y="55880"/>
                </a:lnTo>
                <a:lnTo>
                  <a:pt x="275844" y="58420"/>
                </a:lnTo>
                <a:lnTo>
                  <a:pt x="280416" y="58420"/>
                </a:lnTo>
                <a:lnTo>
                  <a:pt x="280416" y="220980"/>
                </a:lnTo>
                <a:lnTo>
                  <a:pt x="275844" y="220980"/>
                </a:lnTo>
                <a:lnTo>
                  <a:pt x="280416" y="223520"/>
                </a:lnTo>
                <a:lnTo>
                  <a:pt x="289560" y="223520"/>
                </a:lnTo>
                <a:lnTo>
                  <a:pt x="289560" y="228600"/>
                </a:lnTo>
                <a:close/>
              </a:path>
              <a:path w="297179" h="252730">
                <a:moveTo>
                  <a:pt x="24383" y="228600"/>
                </a:moveTo>
                <a:lnTo>
                  <a:pt x="24383" y="58420"/>
                </a:lnTo>
                <a:lnTo>
                  <a:pt x="25907" y="57150"/>
                </a:lnTo>
                <a:lnTo>
                  <a:pt x="25907" y="226060"/>
                </a:lnTo>
                <a:lnTo>
                  <a:pt x="24383" y="228600"/>
                </a:lnTo>
                <a:close/>
              </a:path>
              <a:path w="297179" h="252730">
                <a:moveTo>
                  <a:pt x="62483" y="64770"/>
                </a:moveTo>
                <a:lnTo>
                  <a:pt x="32003" y="64770"/>
                </a:lnTo>
                <a:lnTo>
                  <a:pt x="32003" y="60960"/>
                </a:lnTo>
                <a:lnTo>
                  <a:pt x="56387" y="60960"/>
                </a:lnTo>
                <a:lnTo>
                  <a:pt x="59435" y="57150"/>
                </a:lnTo>
                <a:lnTo>
                  <a:pt x="64007" y="57150"/>
                </a:lnTo>
                <a:lnTo>
                  <a:pt x="64007" y="63500"/>
                </a:lnTo>
                <a:lnTo>
                  <a:pt x="62483" y="64770"/>
                </a:lnTo>
                <a:close/>
              </a:path>
              <a:path w="297179" h="252730">
                <a:moveTo>
                  <a:pt x="120396" y="62230"/>
                </a:moveTo>
                <a:lnTo>
                  <a:pt x="117348" y="57150"/>
                </a:lnTo>
                <a:lnTo>
                  <a:pt x="120396" y="57150"/>
                </a:lnTo>
                <a:lnTo>
                  <a:pt x="120396" y="62230"/>
                </a:lnTo>
                <a:close/>
              </a:path>
              <a:path w="297179" h="252730">
                <a:moveTo>
                  <a:pt x="146303" y="64770"/>
                </a:moveTo>
                <a:lnTo>
                  <a:pt x="143255" y="64770"/>
                </a:lnTo>
                <a:lnTo>
                  <a:pt x="138683" y="62230"/>
                </a:lnTo>
                <a:lnTo>
                  <a:pt x="120396" y="62230"/>
                </a:lnTo>
                <a:lnTo>
                  <a:pt x="120396" y="57150"/>
                </a:lnTo>
                <a:lnTo>
                  <a:pt x="144780" y="57150"/>
                </a:lnTo>
                <a:lnTo>
                  <a:pt x="146303" y="58420"/>
                </a:lnTo>
                <a:lnTo>
                  <a:pt x="146303" y="64770"/>
                </a:lnTo>
                <a:close/>
              </a:path>
              <a:path w="297179" h="252730">
                <a:moveTo>
                  <a:pt x="150876" y="81280"/>
                </a:moveTo>
                <a:lnTo>
                  <a:pt x="150876" y="58420"/>
                </a:lnTo>
                <a:lnTo>
                  <a:pt x="152400" y="57150"/>
                </a:lnTo>
                <a:lnTo>
                  <a:pt x="175260" y="57150"/>
                </a:lnTo>
                <a:lnTo>
                  <a:pt x="175260" y="62230"/>
                </a:lnTo>
                <a:lnTo>
                  <a:pt x="158496" y="62230"/>
                </a:lnTo>
                <a:lnTo>
                  <a:pt x="155448" y="64770"/>
                </a:lnTo>
                <a:lnTo>
                  <a:pt x="156971" y="64770"/>
                </a:lnTo>
                <a:lnTo>
                  <a:pt x="156971" y="78740"/>
                </a:lnTo>
                <a:lnTo>
                  <a:pt x="155448" y="78740"/>
                </a:lnTo>
                <a:lnTo>
                  <a:pt x="150876" y="81280"/>
                </a:lnTo>
                <a:close/>
              </a:path>
              <a:path w="297179" h="252730">
                <a:moveTo>
                  <a:pt x="158496" y="64134"/>
                </a:moveTo>
                <a:lnTo>
                  <a:pt x="158496" y="62230"/>
                </a:lnTo>
                <a:lnTo>
                  <a:pt x="175260" y="62230"/>
                </a:lnTo>
                <a:lnTo>
                  <a:pt x="179832" y="57150"/>
                </a:lnTo>
                <a:lnTo>
                  <a:pt x="181355" y="57150"/>
                </a:lnTo>
                <a:lnTo>
                  <a:pt x="181355" y="63500"/>
                </a:lnTo>
                <a:lnTo>
                  <a:pt x="160019" y="63500"/>
                </a:lnTo>
                <a:lnTo>
                  <a:pt x="158496" y="64134"/>
                </a:lnTo>
                <a:close/>
              </a:path>
              <a:path w="297179" h="252730">
                <a:moveTo>
                  <a:pt x="240792" y="60960"/>
                </a:moveTo>
                <a:lnTo>
                  <a:pt x="237744" y="57150"/>
                </a:lnTo>
                <a:lnTo>
                  <a:pt x="239267" y="57150"/>
                </a:lnTo>
                <a:lnTo>
                  <a:pt x="240792" y="58420"/>
                </a:lnTo>
                <a:lnTo>
                  <a:pt x="240792" y="60960"/>
                </a:lnTo>
                <a:close/>
              </a:path>
              <a:path w="297179" h="252730">
                <a:moveTo>
                  <a:pt x="272796" y="58420"/>
                </a:moveTo>
                <a:lnTo>
                  <a:pt x="271271" y="57150"/>
                </a:lnTo>
                <a:lnTo>
                  <a:pt x="272796" y="57150"/>
                </a:lnTo>
                <a:lnTo>
                  <a:pt x="272796" y="58420"/>
                </a:lnTo>
                <a:close/>
              </a:path>
              <a:path w="297179" h="252730">
                <a:moveTo>
                  <a:pt x="56387" y="58420"/>
                </a:moveTo>
                <a:lnTo>
                  <a:pt x="54864" y="58420"/>
                </a:lnTo>
                <a:lnTo>
                  <a:pt x="56387" y="57785"/>
                </a:lnTo>
                <a:lnTo>
                  <a:pt x="56387" y="58420"/>
                </a:lnTo>
                <a:close/>
              </a:path>
              <a:path w="297179" h="252730">
                <a:moveTo>
                  <a:pt x="32003" y="64770"/>
                </a:moveTo>
                <a:lnTo>
                  <a:pt x="27432" y="64770"/>
                </a:lnTo>
                <a:lnTo>
                  <a:pt x="32003" y="60960"/>
                </a:lnTo>
                <a:lnTo>
                  <a:pt x="32003" y="64770"/>
                </a:lnTo>
                <a:close/>
              </a:path>
              <a:path w="297179" h="252730">
                <a:moveTo>
                  <a:pt x="283464" y="232410"/>
                </a:moveTo>
                <a:lnTo>
                  <a:pt x="266700" y="232410"/>
                </a:lnTo>
                <a:lnTo>
                  <a:pt x="265176" y="231140"/>
                </a:lnTo>
                <a:lnTo>
                  <a:pt x="265176" y="60960"/>
                </a:lnTo>
                <a:lnTo>
                  <a:pt x="268223" y="64770"/>
                </a:lnTo>
                <a:lnTo>
                  <a:pt x="272796" y="64770"/>
                </a:lnTo>
                <a:lnTo>
                  <a:pt x="272796" y="224790"/>
                </a:lnTo>
                <a:lnTo>
                  <a:pt x="268223" y="224790"/>
                </a:lnTo>
                <a:lnTo>
                  <a:pt x="272796" y="229870"/>
                </a:lnTo>
                <a:lnTo>
                  <a:pt x="283464" y="229870"/>
                </a:lnTo>
                <a:lnTo>
                  <a:pt x="283464" y="232410"/>
                </a:lnTo>
                <a:close/>
              </a:path>
              <a:path w="297179" h="252730">
                <a:moveTo>
                  <a:pt x="156971" y="86360"/>
                </a:moveTo>
                <a:lnTo>
                  <a:pt x="140207" y="86360"/>
                </a:lnTo>
                <a:lnTo>
                  <a:pt x="138683" y="85090"/>
                </a:lnTo>
                <a:lnTo>
                  <a:pt x="138683" y="62230"/>
                </a:lnTo>
                <a:lnTo>
                  <a:pt x="143255" y="64770"/>
                </a:lnTo>
                <a:lnTo>
                  <a:pt x="146303" y="64770"/>
                </a:lnTo>
                <a:lnTo>
                  <a:pt x="146303" y="78740"/>
                </a:lnTo>
                <a:lnTo>
                  <a:pt x="143255" y="78740"/>
                </a:lnTo>
                <a:lnTo>
                  <a:pt x="146303" y="81280"/>
                </a:lnTo>
                <a:lnTo>
                  <a:pt x="156971" y="81280"/>
                </a:lnTo>
                <a:lnTo>
                  <a:pt x="156971" y="86360"/>
                </a:lnTo>
                <a:close/>
              </a:path>
              <a:path w="297179" h="252730">
                <a:moveTo>
                  <a:pt x="156971" y="64770"/>
                </a:moveTo>
                <a:lnTo>
                  <a:pt x="155448" y="64770"/>
                </a:lnTo>
                <a:lnTo>
                  <a:pt x="158496" y="62230"/>
                </a:lnTo>
                <a:lnTo>
                  <a:pt x="158496" y="64134"/>
                </a:lnTo>
                <a:lnTo>
                  <a:pt x="156971" y="64770"/>
                </a:lnTo>
                <a:close/>
              </a:path>
              <a:path w="297179" h="252730">
                <a:moveTo>
                  <a:pt x="115823" y="66040"/>
                </a:moveTo>
                <a:lnTo>
                  <a:pt x="111251" y="63500"/>
                </a:lnTo>
                <a:lnTo>
                  <a:pt x="112776" y="63500"/>
                </a:lnTo>
                <a:lnTo>
                  <a:pt x="114300" y="64770"/>
                </a:lnTo>
                <a:lnTo>
                  <a:pt x="115823" y="64770"/>
                </a:lnTo>
                <a:lnTo>
                  <a:pt x="115823" y="66040"/>
                </a:lnTo>
                <a:close/>
              </a:path>
              <a:path w="297179" h="252730">
                <a:moveTo>
                  <a:pt x="138683" y="64770"/>
                </a:moveTo>
                <a:lnTo>
                  <a:pt x="137160" y="63500"/>
                </a:lnTo>
                <a:lnTo>
                  <a:pt x="138683" y="63500"/>
                </a:lnTo>
                <a:lnTo>
                  <a:pt x="138683" y="64770"/>
                </a:lnTo>
                <a:close/>
              </a:path>
              <a:path w="297179" h="252730">
                <a:moveTo>
                  <a:pt x="156971" y="87630"/>
                </a:moveTo>
                <a:lnTo>
                  <a:pt x="156971" y="86360"/>
                </a:lnTo>
                <a:lnTo>
                  <a:pt x="158496" y="85090"/>
                </a:lnTo>
                <a:lnTo>
                  <a:pt x="158496" y="64134"/>
                </a:lnTo>
                <a:lnTo>
                  <a:pt x="160019" y="63500"/>
                </a:lnTo>
                <a:lnTo>
                  <a:pt x="181355" y="63500"/>
                </a:lnTo>
                <a:lnTo>
                  <a:pt x="181355" y="66040"/>
                </a:lnTo>
                <a:lnTo>
                  <a:pt x="166116" y="66040"/>
                </a:lnTo>
                <a:lnTo>
                  <a:pt x="161544" y="71120"/>
                </a:lnTo>
                <a:lnTo>
                  <a:pt x="166116" y="71120"/>
                </a:lnTo>
                <a:lnTo>
                  <a:pt x="166116" y="83820"/>
                </a:lnTo>
                <a:lnTo>
                  <a:pt x="161544" y="83820"/>
                </a:lnTo>
                <a:lnTo>
                  <a:pt x="156971" y="87630"/>
                </a:lnTo>
                <a:close/>
              </a:path>
              <a:path w="297179" h="252730">
                <a:moveTo>
                  <a:pt x="187451" y="71120"/>
                </a:moveTo>
                <a:lnTo>
                  <a:pt x="166116" y="71120"/>
                </a:lnTo>
                <a:lnTo>
                  <a:pt x="166116" y="66040"/>
                </a:lnTo>
                <a:lnTo>
                  <a:pt x="181355" y="66040"/>
                </a:lnTo>
                <a:lnTo>
                  <a:pt x="185928" y="63500"/>
                </a:lnTo>
                <a:lnTo>
                  <a:pt x="188976" y="63500"/>
                </a:lnTo>
                <a:lnTo>
                  <a:pt x="188976" y="69850"/>
                </a:lnTo>
                <a:lnTo>
                  <a:pt x="187451" y="71120"/>
                </a:lnTo>
                <a:close/>
              </a:path>
              <a:path w="297179" h="252730">
                <a:moveTo>
                  <a:pt x="156971" y="86360"/>
                </a:moveTo>
                <a:lnTo>
                  <a:pt x="156971" y="64770"/>
                </a:lnTo>
                <a:lnTo>
                  <a:pt x="158496" y="64134"/>
                </a:lnTo>
                <a:lnTo>
                  <a:pt x="158496" y="85090"/>
                </a:lnTo>
                <a:lnTo>
                  <a:pt x="156971" y="86360"/>
                </a:lnTo>
                <a:close/>
              </a:path>
              <a:path w="297179" h="252730">
                <a:moveTo>
                  <a:pt x="89916" y="102870"/>
                </a:moveTo>
                <a:lnTo>
                  <a:pt x="51816" y="102870"/>
                </a:lnTo>
                <a:lnTo>
                  <a:pt x="48767" y="101600"/>
                </a:lnTo>
                <a:lnTo>
                  <a:pt x="48767" y="68580"/>
                </a:lnTo>
                <a:lnTo>
                  <a:pt x="51816" y="66040"/>
                </a:lnTo>
                <a:lnTo>
                  <a:pt x="89916" y="66040"/>
                </a:lnTo>
                <a:lnTo>
                  <a:pt x="91439" y="68580"/>
                </a:lnTo>
                <a:lnTo>
                  <a:pt x="91439" y="69850"/>
                </a:lnTo>
                <a:lnTo>
                  <a:pt x="57912" y="69850"/>
                </a:lnTo>
                <a:lnTo>
                  <a:pt x="53339" y="73660"/>
                </a:lnTo>
                <a:lnTo>
                  <a:pt x="56387" y="73660"/>
                </a:lnTo>
                <a:lnTo>
                  <a:pt x="56387" y="95250"/>
                </a:lnTo>
                <a:lnTo>
                  <a:pt x="53339" y="95250"/>
                </a:lnTo>
                <a:lnTo>
                  <a:pt x="57912" y="99060"/>
                </a:lnTo>
                <a:lnTo>
                  <a:pt x="91439" y="99060"/>
                </a:lnTo>
                <a:lnTo>
                  <a:pt x="91439" y="101600"/>
                </a:lnTo>
                <a:lnTo>
                  <a:pt x="89916" y="102870"/>
                </a:lnTo>
                <a:close/>
              </a:path>
              <a:path w="297179" h="252730">
                <a:moveTo>
                  <a:pt x="163067" y="92710"/>
                </a:moveTo>
                <a:lnTo>
                  <a:pt x="132587" y="92710"/>
                </a:lnTo>
                <a:lnTo>
                  <a:pt x="131064" y="88900"/>
                </a:lnTo>
                <a:lnTo>
                  <a:pt x="131064" y="66040"/>
                </a:lnTo>
                <a:lnTo>
                  <a:pt x="135635" y="71120"/>
                </a:lnTo>
                <a:lnTo>
                  <a:pt x="138683" y="71120"/>
                </a:lnTo>
                <a:lnTo>
                  <a:pt x="138683" y="83820"/>
                </a:lnTo>
                <a:lnTo>
                  <a:pt x="135635" y="83820"/>
                </a:lnTo>
                <a:lnTo>
                  <a:pt x="138683" y="87630"/>
                </a:lnTo>
                <a:lnTo>
                  <a:pt x="166116" y="87630"/>
                </a:lnTo>
                <a:lnTo>
                  <a:pt x="166116" y="88900"/>
                </a:lnTo>
                <a:lnTo>
                  <a:pt x="163067" y="92710"/>
                </a:lnTo>
                <a:close/>
              </a:path>
              <a:path w="297179" h="252730">
                <a:moveTo>
                  <a:pt x="166116" y="71120"/>
                </a:moveTo>
                <a:lnTo>
                  <a:pt x="161544" y="71120"/>
                </a:lnTo>
                <a:lnTo>
                  <a:pt x="166116" y="66040"/>
                </a:lnTo>
                <a:lnTo>
                  <a:pt x="166116" y="71120"/>
                </a:lnTo>
                <a:close/>
              </a:path>
              <a:path w="297179" h="252730">
                <a:moveTo>
                  <a:pt x="245364" y="102870"/>
                </a:moveTo>
                <a:lnTo>
                  <a:pt x="207264" y="102870"/>
                </a:lnTo>
                <a:lnTo>
                  <a:pt x="205739" y="101600"/>
                </a:lnTo>
                <a:lnTo>
                  <a:pt x="205739" y="68580"/>
                </a:lnTo>
                <a:lnTo>
                  <a:pt x="207264" y="66040"/>
                </a:lnTo>
                <a:lnTo>
                  <a:pt x="245364" y="66040"/>
                </a:lnTo>
                <a:lnTo>
                  <a:pt x="246887" y="68580"/>
                </a:lnTo>
                <a:lnTo>
                  <a:pt x="246887" y="69850"/>
                </a:lnTo>
                <a:lnTo>
                  <a:pt x="213360" y="69850"/>
                </a:lnTo>
                <a:lnTo>
                  <a:pt x="208787" y="73660"/>
                </a:lnTo>
                <a:lnTo>
                  <a:pt x="211835" y="73660"/>
                </a:lnTo>
                <a:lnTo>
                  <a:pt x="211835" y="95250"/>
                </a:lnTo>
                <a:lnTo>
                  <a:pt x="208787" y="95250"/>
                </a:lnTo>
                <a:lnTo>
                  <a:pt x="213360" y="99060"/>
                </a:lnTo>
                <a:lnTo>
                  <a:pt x="246887" y="99060"/>
                </a:lnTo>
                <a:lnTo>
                  <a:pt x="246887" y="101600"/>
                </a:lnTo>
                <a:lnTo>
                  <a:pt x="245364" y="102870"/>
                </a:lnTo>
                <a:close/>
              </a:path>
              <a:path w="297179" h="252730">
                <a:moveTo>
                  <a:pt x="56387" y="73660"/>
                </a:moveTo>
                <a:lnTo>
                  <a:pt x="53339" y="73660"/>
                </a:lnTo>
                <a:lnTo>
                  <a:pt x="57912" y="69850"/>
                </a:lnTo>
                <a:lnTo>
                  <a:pt x="57912" y="71120"/>
                </a:lnTo>
                <a:lnTo>
                  <a:pt x="56387" y="72390"/>
                </a:lnTo>
                <a:lnTo>
                  <a:pt x="56387" y="73660"/>
                </a:lnTo>
                <a:close/>
              </a:path>
              <a:path w="297179" h="252730">
                <a:moveTo>
                  <a:pt x="83819" y="99060"/>
                </a:moveTo>
                <a:lnTo>
                  <a:pt x="57912" y="99060"/>
                </a:lnTo>
                <a:lnTo>
                  <a:pt x="57912" y="69850"/>
                </a:lnTo>
                <a:lnTo>
                  <a:pt x="83819" y="69850"/>
                </a:lnTo>
                <a:lnTo>
                  <a:pt x="83819" y="76200"/>
                </a:lnTo>
                <a:lnTo>
                  <a:pt x="64007" y="76200"/>
                </a:lnTo>
                <a:lnTo>
                  <a:pt x="59435" y="78740"/>
                </a:lnTo>
                <a:lnTo>
                  <a:pt x="64007" y="78740"/>
                </a:lnTo>
                <a:lnTo>
                  <a:pt x="64007" y="88900"/>
                </a:lnTo>
                <a:lnTo>
                  <a:pt x="59435" y="88900"/>
                </a:lnTo>
                <a:lnTo>
                  <a:pt x="64007" y="93980"/>
                </a:lnTo>
                <a:lnTo>
                  <a:pt x="83819" y="93980"/>
                </a:lnTo>
                <a:lnTo>
                  <a:pt x="83819" y="99060"/>
                </a:lnTo>
                <a:close/>
              </a:path>
              <a:path w="297179" h="252730">
                <a:moveTo>
                  <a:pt x="91439" y="99060"/>
                </a:moveTo>
                <a:lnTo>
                  <a:pt x="83819" y="99060"/>
                </a:lnTo>
                <a:lnTo>
                  <a:pt x="88392" y="95250"/>
                </a:lnTo>
                <a:lnTo>
                  <a:pt x="85344" y="95250"/>
                </a:lnTo>
                <a:lnTo>
                  <a:pt x="85344" y="72390"/>
                </a:lnTo>
                <a:lnTo>
                  <a:pt x="83819" y="71120"/>
                </a:lnTo>
                <a:lnTo>
                  <a:pt x="83819" y="69850"/>
                </a:lnTo>
                <a:lnTo>
                  <a:pt x="88392" y="73660"/>
                </a:lnTo>
                <a:lnTo>
                  <a:pt x="91439" y="73660"/>
                </a:lnTo>
                <a:lnTo>
                  <a:pt x="91439" y="95250"/>
                </a:lnTo>
                <a:lnTo>
                  <a:pt x="88392" y="95250"/>
                </a:lnTo>
                <a:lnTo>
                  <a:pt x="83819" y="99060"/>
                </a:lnTo>
                <a:lnTo>
                  <a:pt x="91439" y="99060"/>
                </a:lnTo>
                <a:close/>
              </a:path>
              <a:path w="297179" h="252730">
                <a:moveTo>
                  <a:pt x="91439" y="73660"/>
                </a:moveTo>
                <a:lnTo>
                  <a:pt x="88392" y="73660"/>
                </a:lnTo>
                <a:lnTo>
                  <a:pt x="83819" y="69850"/>
                </a:lnTo>
                <a:lnTo>
                  <a:pt x="91439" y="69850"/>
                </a:lnTo>
                <a:lnTo>
                  <a:pt x="91439" y="73660"/>
                </a:lnTo>
                <a:close/>
              </a:path>
              <a:path w="297179" h="252730">
                <a:moveTo>
                  <a:pt x="211835" y="73660"/>
                </a:moveTo>
                <a:lnTo>
                  <a:pt x="208787" y="73660"/>
                </a:lnTo>
                <a:lnTo>
                  <a:pt x="213360" y="69850"/>
                </a:lnTo>
                <a:lnTo>
                  <a:pt x="213360" y="71120"/>
                </a:lnTo>
                <a:lnTo>
                  <a:pt x="211835" y="72390"/>
                </a:lnTo>
                <a:lnTo>
                  <a:pt x="211835" y="73660"/>
                </a:lnTo>
                <a:close/>
              </a:path>
              <a:path w="297179" h="252730">
                <a:moveTo>
                  <a:pt x="239267" y="99060"/>
                </a:moveTo>
                <a:lnTo>
                  <a:pt x="213360" y="99060"/>
                </a:lnTo>
                <a:lnTo>
                  <a:pt x="213360" y="69850"/>
                </a:lnTo>
                <a:lnTo>
                  <a:pt x="239267" y="69850"/>
                </a:lnTo>
                <a:lnTo>
                  <a:pt x="239267" y="76200"/>
                </a:lnTo>
                <a:lnTo>
                  <a:pt x="219455" y="76200"/>
                </a:lnTo>
                <a:lnTo>
                  <a:pt x="214883" y="78740"/>
                </a:lnTo>
                <a:lnTo>
                  <a:pt x="219455" y="78740"/>
                </a:lnTo>
                <a:lnTo>
                  <a:pt x="219455" y="88900"/>
                </a:lnTo>
                <a:lnTo>
                  <a:pt x="214883" y="88900"/>
                </a:lnTo>
                <a:lnTo>
                  <a:pt x="219455" y="93980"/>
                </a:lnTo>
                <a:lnTo>
                  <a:pt x="239267" y="93980"/>
                </a:lnTo>
                <a:lnTo>
                  <a:pt x="239267" y="99060"/>
                </a:lnTo>
                <a:close/>
              </a:path>
              <a:path w="297179" h="252730">
                <a:moveTo>
                  <a:pt x="246887" y="99060"/>
                </a:moveTo>
                <a:lnTo>
                  <a:pt x="239267" y="99060"/>
                </a:lnTo>
                <a:lnTo>
                  <a:pt x="243839" y="95250"/>
                </a:lnTo>
                <a:lnTo>
                  <a:pt x="240792" y="95250"/>
                </a:lnTo>
                <a:lnTo>
                  <a:pt x="240792" y="72390"/>
                </a:lnTo>
                <a:lnTo>
                  <a:pt x="239267" y="71120"/>
                </a:lnTo>
                <a:lnTo>
                  <a:pt x="239267" y="69850"/>
                </a:lnTo>
                <a:lnTo>
                  <a:pt x="243839" y="73660"/>
                </a:lnTo>
                <a:lnTo>
                  <a:pt x="246887" y="73660"/>
                </a:lnTo>
                <a:lnTo>
                  <a:pt x="246887" y="95250"/>
                </a:lnTo>
                <a:lnTo>
                  <a:pt x="243839" y="95250"/>
                </a:lnTo>
                <a:lnTo>
                  <a:pt x="239267" y="99060"/>
                </a:lnTo>
                <a:lnTo>
                  <a:pt x="246887" y="99060"/>
                </a:lnTo>
                <a:close/>
              </a:path>
              <a:path w="297179" h="252730">
                <a:moveTo>
                  <a:pt x="246887" y="73660"/>
                </a:moveTo>
                <a:lnTo>
                  <a:pt x="243839" y="73660"/>
                </a:lnTo>
                <a:lnTo>
                  <a:pt x="239267" y="69850"/>
                </a:lnTo>
                <a:lnTo>
                  <a:pt x="246887" y="69850"/>
                </a:lnTo>
                <a:lnTo>
                  <a:pt x="246887" y="73660"/>
                </a:lnTo>
                <a:close/>
              </a:path>
              <a:path w="297179" h="252730">
                <a:moveTo>
                  <a:pt x="57912" y="99060"/>
                </a:moveTo>
                <a:lnTo>
                  <a:pt x="56387" y="95250"/>
                </a:lnTo>
                <a:lnTo>
                  <a:pt x="56387" y="72390"/>
                </a:lnTo>
                <a:lnTo>
                  <a:pt x="57912" y="71120"/>
                </a:lnTo>
                <a:lnTo>
                  <a:pt x="57912" y="99060"/>
                </a:lnTo>
                <a:close/>
              </a:path>
              <a:path w="297179" h="252730">
                <a:moveTo>
                  <a:pt x="83819" y="99060"/>
                </a:moveTo>
                <a:lnTo>
                  <a:pt x="83819" y="71120"/>
                </a:lnTo>
                <a:lnTo>
                  <a:pt x="85344" y="72390"/>
                </a:lnTo>
                <a:lnTo>
                  <a:pt x="85344" y="95250"/>
                </a:lnTo>
                <a:lnTo>
                  <a:pt x="83819" y="99060"/>
                </a:lnTo>
                <a:close/>
              </a:path>
              <a:path w="297179" h="252730">
                <a:moveTo>
                  <a:pt x="213360" y="99060"/>
                </a:moveTo>
                <a:lnTo>
                  <a:pt x="211835" y="95250"/>
                </a:lnTo>
                <a:lnTo>
                  <a:pt x="211835" y="72390"/>
                </a:lnTo>
                <a:lnTo>
                  <a:pt x="213360" y="71120"/>
                </a:lnTo>
                <a:lnTo>
                  <a:pt x="213360" y="99060"/>
                </a:lnTo>
                <a:close/>
              </a:path>
              <a:path w="297179" h="252730">
                <a:moveTo>
                  <a:pt x="239267" y="99060"/>
                </a:moveTo>
                <a:lnTo>
                  <a:pt x="239267" y="71120"/>
                </a:lnTo>
                <a:lnTo>
                  <a:pt x="240792" y="72390"/>
                </a:lnTo>
                <a:lnTo>
                  <a:pt x="240792" y="95250"/>
                </a:lnTo>
                <a:lnTo>
                  <a:pt x="239267" y="99060"/>
                </a:lnTo>
                <a:close/>
              </a:path>
              <a:path w="297179" h="252730">
                <a:moveTo>
                  <a:pt x="64007" y="78740"/>
                </a:moveTo>
                <a:lnTo>
                  <a:pt x="59435" y="78740"/>
                </a:lnTo>
                <a:lnTo>
                  <a:pt x="64007" y="76200"/>
                </a:lnTo>
                <a:lnTo>
                  <a:pt x="64007" y="78740"/>
                </a:lnTo>
                <a:close/>
              </a:path>
              <a:path w="297179" h="252730">
                <a:moveTo>
                  <a:pt x="77723" y="78740"/>
                </a:moveTo>
                <a:lnTo>
                  <a:pt x="64007" y="78740"/>
                </a:lnTo>
                <a:lnTo>
                  <a:pt x="64007" y="76200"/>
                </a:lnTo>
                <a:lnTo>
                  <a:pt x="77723" y="76200"/>
                </a:lnTo>
                <a:lnTo>
                  <a:pt x="77723" y="78740"/>
                </a:lnTo>
                <a:close/>
              </a:path>
              <a:path w="297179" h="252730">
                <a:moveTo>
                  <a:pt x="77723" y="93980"/>
                </a:moveTo>
                <a:lnTo>
                  <a:pt x="77723" y="76200"/>
                </a:lnTo>
                <a:lnTo>
                  <a:pt x="82296" y="78740"/>
                </a:lnTo>
                <a:lnTo>
                  <a:pt x="83819" y="78740"/>
                </a:lnTo>
                <a:lnTo>
                  <a:pt x="83819" y="88900"/>
                </a:lnTo>
                <a:lnTo>
                  <a:pt x="82296" y="88900"/>
                </a:lnTo>
                <a:lnTo>
                  <a:pt x="77723" y="93980"/>
                </a:lnTo>
                <a:close/>
              </a:path>
              <a:path w="297179" h="252730">
                <a:moveTo>
                  <a:pt x="83819" y="78740"/>
                </a:moveTo>
                <a:lnTo>
                  <a:pt x="82296" y="78740"/>
                </a:lnTo>
                <a:lnTo>
                  <a:pt x="77723" y="76200"/>
                </a:lnTo>
                <a:lnTo>
                  <a:pt x="83819" y="76200"/>
                </a:lnTo>
                <a:lnTo>
                  <a:pt x="83819" y="78740"/>
                </a:lnTo>
                <a:close/>
              </a:path>
              <a:path w="297179" h="252730">
                <a:moveTo>
                  <a:pt x="219455" y="78740"/>
                </a:moveTo>
                <a:lnTo>
                  <a:pt x="214883" y="78740"/>
                </a:lnTo>
                <a:lnTo>
                  <a:pt x="219455" y="76200"/>
                </a:lnTo>
                <a:lnTo>
                  <a:pt x="219455" y="78740"/>
                </a:lnTo>
                <a:close/>
              </a:path>
              <a:path w="297179" h="252730">
                <a:moveTo>
                  <a:pt x="233171" y="78740"/>
                </a:moveTo>
                <a:lnTo>
                  <a:pt x="219455" y="78740"/>
                </a:lnTo>
                <a:lnTo>
                  <a:pt x="219455" y="76200"/>
                </a:lnTo>
                <a:lnTo>
                  <a:pt x="233171" y="76200"/>
                </a:lnTo>
                <a:lnTo>
                  <a:pt x="233171" y="78740"/>
                </a:lnTo>
                <a:close/>
              </a:path>
              <a:path w="297179" h="252730">
                <a:moveTo>
                  <a:pt x="233171" y="93980"/>
                </a:moveTo>
                <a:lnTo>
                  <a:pt x="233171" y="76200"/>
                </a:lnTo>
                <a:lnTo>
                  <a:pt x="237744" y="78740"/>
                </a:lnTo>
                <a:lnTo>
                  <a:pt x="239267" y="78740"/>
                </a:lnTo>
                <a:lnTo>
                  <a:pt x="239267" y="88900"/>
                </a:lnTo>
                <a:lnTo>
                  <a:pt x="237744" y="88900"/>
                </a:lnTo>
                <a:lnTo>
                  <a:pt x="233171" y="93980"/>
                </a:lnTo>
                <a:close/>
              </a:path>
              <a:path w="297179" h="252730">
                <a:moveTo>
                  <a:pt x="239267" y="78740"/>
                </a:moveTo>
                <a:lnTo>
                  <a:pt x="237744" y="78740"/>
                </a:lnTo>
                <a:lnTo>
                  <a:pt x="233171" y="76200"/>
                </a:lnTo>
                <a:lnTo>
                  <a:pt x="239267" y="76200"/>
                </a:lnTo>
                <a:lnTo>
                  <a:pt x="239267" y="78740"/>
                </a:lnTo>
                <a:close/>
              </a:path>
              <a:path w="297179" h="252730">
                <a:moveTo>
                  <a:pt x="146303" y="81280"/>
                </a:moveTo>
                <a:lnTo>
                  <a:pt x="143255" y="78740"/>
                </a:lnTo>
                <a:lnTo>
                  <a:pt x="146303" y="78740"/>
                </a:lnTo>
                <a:lnTo>
                  <a:pt x="146303" y="81280"/>
                </a:lnTo>
                <a:close/>
              </a:path>
              <a:path w="297179" h="252730">
                <a:moveTo>
                  <a:pt x="150876" y="81280"/>
                </a:moveTo>
                <a:lnTo>
                  <a:pt x="146303" y="81280"/>
                </a:lnTo>
                <a:lnTo>
                  <a:pt x="146303" y="78740"/>
                </a:lnTo>
                <a:lnTo>
                  <a:pt x="150876" y="78740"/>
                </a:lnTo>
                <a:lnTo>
                  <a:pt x="150876" y="81280"/>
                </a:lnTo>
                <a:close/>
              </a:path>
              <a:path w="297179" h="252730">
                <a:moveTo>
                  <a:pt x="156971" y="81280"/>
                </a:moveTo>
                <a:lnTo>
                  <a:pt x="150876" y="81280"/>
                </a:lnTo>
                <a:lnTo>
                  <a:pt x="155448" y="78740"/>
                </a:lnTo>
                <a:lnTo>
                  <a:pt x="156971" y="78740"/>
                </a:lnTo>
                <a:lnTo>
                  <a:pt x="156971" y="81280"/>
                </a:lnTo>
                <a:close/>
              </a:path>
              <a:path w="297179" h="252730">
                <a:moveTo>
                  <a:pt x="138683" y="87630"/>
                </a:moveTo>
                <a:lnTo>
                  <a:pt x="135635" y="83820"/>
                </a:lnTo>
                <a:lnTo>
                  <a:pt x="138683" y="83820"/>
                </a:lnTo>
                <a:lnTo>
                  <a:pt x="138683" y="87630"/>
                </a:lnTo>
                <a:close/>
              </a:path>
              <a:path w="297179" h="252730">
                <a:moveTo>
                  <a:pt x="166116" y="87630"/>
                </a:moveTo>
                <a:lnTo>
                  <a:pt x="156971" y="87630"/>
                </a:lnTo>
                <a:lnTo>
                  <a:pt x="161544" y="83820"/>
                </a:lnTo>
                <a:lnTo>
                  <a:pt x="166116" y="83820"/>
                </a:lnTo>
                <a:lnTo>
                  <a:pt x="166116" y="87630"/>
                </a:lnTo>
                <a:close/>
              </a:path>
              <a:path w="297179" h="252730">
                <a:moveTo>
                  <a:pt x="156971" y="87630"/>
                </a:moveTo>
                <a:lnTo>
                  <a:pt x="138683" y="87630"/>
                </a:lnTo>
                <a:lnTo>
                  <a:pt x="138683" y="85090"/>
                </a:lnTo>
                <a:lnTo>
                  <a:pt x="140207" y="86360"/>
                </a:lnTo>
                <a:lnTo>
                  <a:pt x="156971" y="86360"/>
                </a:lnTo>
                <a:lnTo>
                  <a:pt x="156971" y="87630"/>
                </a:lnTo>
                <a:close/>
              </a:path>
              <a:path w="297179" h="252730">
                <a:moveTo>
                  <a:pt x="64007" y="93980"/>
                </a:moveTo>
                <a:lnTo>
                  <a:pt x="59435" y="88900"/>
                </a:lnTo>
                <a:lnTo>
                  <a:pt x="64007" y="88900"/>
                </a:lnTo>
                <a:lnTo>
                  <a:pt x="64007" y="93980"/>
                </a:lnTo>
                <a:close/>
              </a:path>
              <a:path w="297179" h="252730">
                <a:moveTo>
                  <a:pt x="77723" y="93980"/>
                </a:moveTo>
                <a:lnTo>
                  <a:pt x="64007" y="93980"/>
                </a:lnTo>
                <a:lnTo>
                  <a:pt x="64007" y="88900"/>
                </a:lnTo>
                <a:lnTo>
                  <a:pt x="77723" y="88900"/>
                </a:lnTo>
                <a:lnTo>
                  <a:pt x="77723" y="93980"/>
                </a:lnTo>
                <a:close/>
              </a:path>
              <a:path w="297179" h="252730">
                <a:moveTo>
                  <a:pt x="83819" y="93980"/>
                </a:moveTo>
                <a:lnTo>
                  <a:pt x="77723" y="93980"/>
                </a:lnTo>
                <a:lnTo>
                  <a:pt x="82296" y="88900"/>
                </a:lnTo>
                <a:lnTo>
                  <a:pt x="83819" y="88900"/>
                </a:lnTo>
                <a:lnTo>
                  <a:pt x="83819" y="93980"/>
                </a:lnTo>
                <a:close/>
              </a:path>
              <a:path w="297179" h="252730">
                <a:moveTo>
                  <a:pt x="219455" y="93980"/>
                </a:moveTo>
                <a:lnTo>
                  <a:pt x="214883" y="88900"/>
                </a:lnTo>
                <a:lnTo>
                  <a:pt x="219455" y="88900"/>
                </a:lnTo>
                <a:lnTo>
                  <a:pt x="219455" y="93980"/>
                </a:lnTo>
                <a:close/>
              </a:path>
              <a:path w="297179" h="252730">
                <a:moveTo>
                  <a:pt x="233171" y="93980"/>
                </a:moveTo>
                <a:lnTo>
                  <a:pt x="219455" y="93980"/>
                </a:lnTo>
                <a:lnTo>
                  <a:pt x="219455" y="88900"/>
                </a:lnTo>
                <a:lnTo>
                  <a:pt x="233171" y="88900"/>
                </a:lnTo>
                <a:lnTo>
                  <a:pt x="233171" y="93980"/>
                </a:lnTo>
                <a:close/>
              </a:path>
              <a:path w="297179" h="252730">
                <a:moveTo>
                  <a:pt x="239267" y="93980"/>
                </a:moveTo>
                <a:lnTo>
                  <a:pt x="233171" y="93980"/>
                </a:lnTo>
                <a:lnTo>
                  <a:pt x="237744" y="88900"/>
                </a:lnTo>
                <a:lnTo>
                  <a:pt x="239267" y="88900"/>
                </a:lnTo>
                <a:lnTo>
                  <a:pt x="239267" y="93980"/>
                </a:lnTo>
                <a:close/>
              </a:path>
              <a:path w="297179" h="252730">
                <a:moveTo>
                  <a:pt x="57912" y="99060"/>
                </a:moveTo>
                <a:lnTo>
                  <a:pt x="53339" y="95250"/>
                </a:lnTo>
                <a:lnTo>
                  <a:pt x="56387" y="95250"/>
                </a:lnTo>
                <a:lnTo>
                  <a:pt x="57912" y="99060"/>
                </a:lnTo>
                <a:close/>
              </a:path>
              <a:path w="297179" h="252730">
                <a:moveTo>
                  <a:pt x="213360" y="99060"/>
                </a:moveTo>
                <a:lnTo>
                  <a:pt x="208787" y="95250"/>
                </a:lnTo>
                <a:lnTo>
                  <a:pt x="211835" y="95250"/>
                </a:lnTo>
                <a:lnTo>
                  <a:pt x="213360" y="99060"/>
                </a:lnTo>
                <a:close/>
              </a:path>
              <a:path w="297179" h="252730">
                <a:moveTo>
                  <a:pt x="89916" y="142240"/>
                </a:moveTo>
                <a:lnTo>
                  <a:pt x="51816" y="142240"/>
                </a:lnTo>
                <a:lnTo>
                  <a:pt x="48767" y="140970"/>
                </a:lnTo>
                <a:lnTo>
                  <a:pt x="48767" y="106680"/>
                </a:lnTo>
                <a:lnTo>
                  <a:pt x="51816" y="104140"/>
                </a:lnTo>
                <a:lnTo>
                  <a:pt x="89916" y="104140"/>
                </a:lnTo>
                <a:lnTo>
                  <a:pt x="91439" y="106680"/>
                </a:lnTo>
                <a:lnTo>
                  <a:pt x="91439" y="109220"/>
                </a:lnTo>
                <a:lnTo>
                  <a:pt x="57912" y="109220"/>
                </a:lnTo>
                <a:lnTo>
                  <a:pt x="53339" y="111760"/>
                </a:lnTo>
                <a:lnTo>
                  <a:pt x="56387" y="111760"/>
                </a:lnTo>
                <a:lnTo>
                  <a:pt x="56387" y="134620"/>
                </a:lnTo>
                <a:lnTo>
                  <a:pt x="53339" y="134620"/>
                </a:lnTo>
                <a:lnTo>
                  <a:pt x="57912" y="139700"/>
                </a:lnTo>
                <a:lnTo>
                  <a:pt x="91439" y="139700"/>
                </a:lnTo>
                <a:lnTo>
                  <a:pt x="91439" y="140970"/>
                </a:lnTo>
                <a:lnTo>
                  <a:pt x="89916" y="142240"/>
                </a:lnTo>
                <a:close/>
              </a:path>
              <a:path w="297179" h="252730">
                <a:moveTo>
                  <a:pt x="141732" y="142240"/>
                </a:moveTo>
                <a:lnTo>
                  <a:pt x="102107" y="142240"/>
                </a:lnTo>
                <a:lnTo>
                  <a:pt x="100583" y="140970"/>
                </a:lnTo>
                <a:lnTo>
                  <a:pt x="100583" y="106680"/>
                </a:lnTo>
                <a:lnTo>
                  <a:pt x="102107" y="104140"/>
                </a:lnTo>
                <a:lnTo>
                  <a:pt x="141732" y="104140"/>
                </a:lnTo>
                <a:lnTo>
                  <a:pt x="143255" y="106680"/>
                </a:lnTo>
                <a:lnTo>
                  <a:pt x="143255" y="109220"/>
                </a:lnTo>
                <a:lnTo>
                  <a:pt x="108203" y="109220"/>
                </a:lnTo>
                <a:lnTo>
                  <a:pt x="105155" y="111760"/>
                </a:lnTo>
                <a:lnTo>
                  <a:pt x="108203" y="111760"/>
                </a:lnTo>
                <a:lnTo>
                  <a:pt x="108203" y="134620"/>
                </a:lnTo>
                <a:lnTo>
                  <a:pt x="105155" y="134620"/>
                </a:lnTo>
                <a:lnTo>
                  <a:pt x="108203" y="139700"/>
                </a:lnTo>
                <a:lnTo>
                  <a:pt x="143255" y="139700"/>
                </a:lnTo>
                <a:lnTo>
                  <a:pt x="143255" y="140970"/>
                </a:lnTo>
                <a:lnTo>
                  <a:pt x="141732" y="142240"/>
                </a:lnTo>
                <a:close/>
              </a:path>
              <a:path w="297179" h="252730">
                <a:moveTo>
                  <a:pt x="193548" y="142240"/>
                </a:moveTo>
                <a:lnTo>
                  <a:pt x="155448" y="142240"/>
                </a:lnTo>
                <a:lnTo>
                  <a:pt x="153923" y="140970"/>
                </a:lnTo>
                <a:lnTo>
                  <a:pt x="153923" y="106680"/>
                </a:lnTo>
                <a:lnTo>
                  <a:pt x="155448" y="104140"/>
                </a:lnTo>
                <a:lnTo>
                  <a:pt x="193548" y="104140"/>
                </a:lnTo>
                <a:lnTo>
                  <a:pt x="196596" y="106680"/>
                </a:lnTo>
                <a:lnTo>
                  <a:pt x="196596" y="109220"/>
                </a:lnTo>
                <a:lnTo>
                  <a:pt x="161544" y="109220"/>
                </a:lnTo>
                <a:lnTo>
                  <a:pt x="156971" y="111760"/>
                </a:lnTo>
                <a:lnTo>
                  <a:pt x="160019" y="111760"/>
                </a:lnTo>
                <a:lnTo>
                  <a:pt x="160019" y="134620"/>
                </a:lnTo>
                <a:lnTo>
                  <a:pt x="156971" y="134620"/>
                </a:lnTo>
                <a:lnTo>
                  <a:pt x="161544" y="139700"/>
                </a:lnTo>
                <a:lnTo>
                  <a:pt x="196596" y="139700"/>
                </a:lnTo>
                <a:lnTo>
                  <a:pt x="196596" y="140970"/>
                </a:lnTo>
                <a:lnTo>
                  <a:pt x="193548" y="142240"/>
                </a:lnTo>
                <a:close/>
              </a:path>
              <a:path w="297179" h="252730">
                <a:moveTo>
                  <a:pt x="245364" y="142240"/>
                </a:moveTo>
                <a:lnTo>
                  <a:pt x="207264" y="142240"/>
                </a:lnTo>
                <a:lnTo>
                  <a:pt x="205739" y="140970"/>
                </a:lnTo>
                <a:lnTo>
                  <a:pt x="205739" y="106680"/>
                </a:lnTo>
                <a:lnTo>
                  <a:pt x="207264" y="104140"/>
                </a:lnTo>
                <a:lnTo>
                  <a:pt x="245364" y="104140"/>
                </a:lnTo>
                <a:lnTo>
                  <a:pt x="246887" y="106680"/>
                </a:lnTo>
                <a:lnTo>
                  <a:pt x="246887" y="109220"/>
                </a:lnTo>
                <a:lnTo>
                  <a:pt x="213360" y="109220"/>
                </a:lnTo>
                <a:lnTo>
                  <a:pt x="208787" y="111760"/>
                </a:lnTo>
                <a:lnTo>
                  <a:pt x="211835" y="111760"/>
                </a:lnTo>
                <a:lnTo>
                  <a:pt x="211835" y="134620"/>
                </a:lnTo>
                <a:lnTo>
                  <a:pt x="208787" y="134620"/>
                </a:lnTo>
                <a:lnTo>
                  <a:pt x="213360" y="139700"/>
                </a:lnTo>
                <a:lnTo>
                  <a:pt x="246887" y="139700"/>
                </a:lnTo>
                <a:lnTo>
                  <a:pt x="246887" y="140970"/>
                </a:lnTo>
                <a:lnTo>
                  <a:pt x="245364" y="142240"/>
                </a:lnTo>
                <a:close/>
              </a:path>
              <a:path w="297179" h="252730">
                <a:moveTo>
                  <a:pt x="56387" y="111760"/>
                </a:moveTo>
                <a:lnTo>
                  <a:pt x="53339" y="111760"/>
                </a:lnTo>
                <a:lnTo>
                  <a:pt x="57912" y="109220"/>
                </a:lnTo>
                <a:lnTo>
                  <a:pt x="57912" y="110490"/>
                </a:lnTo>
                <a:lnTo>
                  <a:pt x="56387" y="111760"/>
                </a:lnTo>
                <a:close/>
              </a:path>
              <a:path w="297179" h="252730">
                <a:moveTo>
                  <a:pt x="83819" y="139700"/>
                </a:moveTo>
                <a:lnTo>
                  <a:pt x="57912" y="139700"/>
                </a:lnTo>
                <a:lnTo>
                  <a:pt x="57912" y="109220"/>
                </a:lnTo>
                <a:lnTo>
                  <a:pt x="83819" y="109220"/>
                </a:lnTo>
                <a:lnTo>
                  <a:pt x="83819" y="114300"/>
                </a:lnTo>
                <a:lnTo>
                  <a:pt x="64007" y="114300"/>
                </a:lnTo>
                <a:lnTo>
                  <a:pt x="59435" y="118110"/>
                </a:lnTo>
                <a:lnTo>
                  <a:pt x="64007" y="118110"/>
                </a:lnTo>
                <a:lnTo>
                  <a:pt x="64007" y="129540"/>
                </a:lnTo>
                <a:lnTo>
                  <a:pt x="59435" y="129540"/>
                </a:lnTo>
                <a:lnTo>
                  <a:pt x="64007" y="132080"/>
                </a:lnTo>
                <a:lnTo>
                  <a:pt x="83819" y="132080"/>
                </a:lnTo>
                <a:lnTo>
                  <a:pt x="83819" y="139700"/>
                </a:lnTo>
                <a:close/>
              </a:path>
              <a:path w="297179" h="252730">
                <a:moveTo>
                  <a:pt x="83819" y="139700"/>
                </a:moveTo>
                <a:lnTo>
                  <a:pt x="83819" y="137160"/>
                </a:lnTo>
                <a:lnTo>
                  <a:pt x="85344" y="134620"/>
                </a:lnTo>
                <a:lnTo>
                  <a:pt x="85344" y="111760"/>
                </a:lnTo>
                <a:lnTo>
                  <a:pt x="83819" y="110490"/>
                </a:lnTo>
                <a:lnTo>
                  <a:pt x="83819" y="109220"/>
                </a:lnTo>
                <a:lnTo>
                  <a:pt x="88392" y="111760"/>
                </a:lnTo>
                <a:lnTo>
                  <a:pt x="91439" y="111760"/>
                </a:lnTo>
                <a:lnTo>
                  <a:pt x="91439" y="134620"/>
                </a:lnTo>
                <a:lnTo>
                  <a:pt x="88392" y="134620"/>
                </a:lnTo>
                <a:lnTo>
                  <a:pt x="83819" y="139700"/>
                </a:lnTo>
                <a:close/>
              </a:path>
              <a:path w="297179" h="252730">
                <a:moveTo>
                  <a:pt x="91439" y="111760"/>
                </a:moveTo>
                <a:lnTo>
                  <a:pt x="88392" y="111760"/>
                </a:lnTo>
                <a:lnTo>
                  <a:pt x="83819" y="109220"/>
                </a:lnTo>
                <a:lnTo>
                  <a:pt x="91439" y="109220"/>
                </a:lnTo>
                <a:lnTo>
                  <a:pt x="91439" y="111760"/>
                </a:lnTo>
                <a:close/>
              </a:path>
              <a:path w="297179" h="252730">
                <a:moveTo>
                  <a:pt x="108203" y="111760"/>
                </a:moveTo>
                <a:lnTo>
                  <a:pt x="105155" y="111760"/>
                </a:lnTo>
                <a:lnTo>
                  <a:pt x="108203" y="109220"/>
                </a:lnTo>
                <a:lnTo>
                  <a:pt x="108203" y="111760"/>
                </a:lnTo>
                <a:close/>
              </a:path>
              <a:path w="297179" h="252730">
                <a:moveTo>
                  <a:pt x="108203" y="111760"/>
                </a:moveTo>
                <a:lnTo>
                  <a:pt x="108203" y="109220"/>
                </a:lnTo>
                <a:lnTo>
                  <a:pt x="135635" y="109220"/>
                </a:lnTo>
                <a:lnTo>
                  <a:pt x="135635" y="110490"/>
                </a:lnTo>
                <a:lnTo>
                  <a:pt x="109728" y="110490"/>
                </a:lnTo>
                <a:lnTo>
                  <a:pt x="108203" y="111760"/>
                </a:lnTo>
                <a:close/>
              </a:path>
              <a:path w="297179" h="252730">
                <a:moveTo>
                  <a:pt x="135635" y="139700"/>
                </a:moveTo>
                <a:lnTo>
                  <a:pt x="135635" y="137160"/>
                </a:lnTo>
                <a:lnTo>
                  <a:pt x="137160" y="134620"/>
                </a:lnTo>
                <a:lnTo>
                  <a:pt x="137160" y="111760"/>
                </a:lnTo>
                <a:lnTo>
                  <a:pt x="135635" y="110490"/>
                </a:lnTo>
                <a:lnTo>
                  <a:pt x="135635" y="109220"/>
                </a:lnTo>
                <a:lnTo>
                  <a:pt x="138683" y="111760"/>
                </a:lnTo>
                <a:lnTo>
                  <a:pt x="143255" y="111760"/>
                </a:lnTo>
                <a:lnTo>
                  <a:pt x="143255" y="134620"/>
                </a:lnTo>
                <a:lnTo>
                  <a:pt x="138683" y="134620"/>
                </a:lnTo>
                <a:lnTo>
                  <a:pt x="135635" y="139700"/>
                </a:lnTo>
                <a:close/>
              </a:path>
              <a:path w="297179" h="252730">
                <a:moveTo>
                  <a:pt x="143255" y="111760"/>
                </a:moveTo>
                <a:lnTo>
                  <a:pt x="138683" y="111760"/>
                </a:lnTo>
                <a:lnTo>
                  <a:pt x="135635" y="109220"/>
                </a:lnTo>
                <a:lnTo>
                  <a:pt x="143255" y="109220"/>
                </a:lnTo>
                <a:lnTo>
                  <a:pt x="143255" y="111760"/>
                </a:lnTo>
                <a:close/>
              </a:path>
              <a:path w="297179" h="252730">
                <a:moveTo>
                  <a:pt x="160019" y="111760"/>
                </a:moveTo>
                <a:lnTo>
                  <a:pt x="156971" y="111760"/>
                </a:lnTo>
                <a:lnTo>
                  <a:pt x="161544" y="109220"/>
                </a:lnTo>
                <a:lnTo>
                  <a:pt x="161544" y="110490"/>
                </a:lnTo>
                <a:lnTo>
                  <a:pt x="160019" y="111760"/>
                </a:lnTo>
                <a:close/>
              </a:path>
              <a:path w="297179" h="252730">
                <a:moveTo>
                  <a:pt x="187451" y="139700"/>
                </a:moveTo>
                <a:lnTo>
                  <a:pt x="161544" y="139700"/>
                </a:lnTo>
                <a:lnTo>
                  <a:pt x="161544" y="109220"/>
                </a:lnTo>
                <a:lnTo>
                  <a:pt x="187451" y="109220"/>
                </a:lnTo>
                <a:lnTo>
                  <a:pt x="187451" y="110490"/>
                </a:lnTo>
                <a:lnTo>
                  <a:pt x="185928" y="110490"/>
                </a:lnTo>
                <a:lnTo>
                  <a:pt x="187451" y="111124"/>
                </a:lnTo>
                <a:lnTo>
                  <a:pt x="187451" y="114300"/>
                </a:lnTo>
                <a:lnTo>
                  <a:pt x="167639" y="114300"/>
                </a:lnTo>
                <a:lnTo>
                  <a:pt x="164592" y="118110"/>
                </a:lnTo>
                <a:lnTo>
                  <a:pt x="167639" y="118110"/>
                </a:lnTo>
                <a:lnTo>
                  <a:pt x="167639" y="129540"/>
                </a:lnTo>
                <a:lnTo>
                  <a:pt x="164592" y="129540"/>
                </a:lnTo>
                <a:lnTo>
                  <a:pt x="167639" y="132080"/>
                </a:lnTo>
                <a:lnTo>
                  <a:pt x="187451" y="132080"/>
                </a:lnTo>
                <a:lnTo>
                  <a:pt x="187451" y="135890"/>
                </a:lnTo>
                <a:lnTo>
                  <a:pt x="185928" y="137160"/>
                </a:lnTo>
                <a:lnTo>
                  <a:pt x="187451" y="137160"/>
                </a:lnTo>
                <a:lnTo>
                  <a:pt x="187451" y="139700"/>
                </a:lnTo>
                <a:close/>
              </a:path>
              <a:path w="297179" h="252730">
                <a:moveTo>
                  <a:pt x="187451" y="139700"/>
                </a:moveTo>
                <a:lnTo>
                  <a:pt x="187451" y="135890"/>
                </a:lnTo>
                <a:lnTo>
                  <a:pt x="188976" y="134620"/>
                </a:lnTo>
                <a:lnTo>
                  <a:pt x="188976" y="111760"/>
                </a:lnTo>
                <a:lnTo>
                  <a:pt x="187451" y="111124"/>
                </a:lnTo>
                <a:lnTo>
                  <a:pt x="187451" y="109220"/>
                </a:lnTo>
                <a:lnTo>
                  <a:pt x="192023" y="111760"/>
                </a:lnTo>
                <a:lnTo>
                  <a:pt x="196596" y="111760"/>
                </a:lnTo>
                <a:lnTo>
                  <a:pt x="196596" y="134620"/>
                </a:lnTo>
                <a:lnTo>
                  <a:pt x="192023" y="134620"/>
                </a:lnTo>
                <a:lnTo>
                  <a:pt x="187451" y="139700"/>
                </a:lnTo>
                <a:close/>
              </a:path>
              <a:path w="297179" h="252730">
                <a:moveTo>
                  <a:pt x="196596" y="111760"/>
                </a:moveTo>
                <a:lnTo>
                  <a:pt x="192023" y="111760"/>
                </a:lnTo>
                <a:lnTo>
                  <a:pt x="187451" y="109220"/>
                </a:lnTo>
                <a:lnTo>
                  <a:pt x="196596" y="109220"/>
                </a:lnTo>
                <a:lnTo>
                  <a:pt x="196596" y="111760"/>
                </a:lnTo>
                <a:close/>
              </a:path>
              <a:path w="297179" h="252730">
                <a:moveTo>
                  <a:pt x="211835" y="111760"/>
                </a:moveTo>
                <a:lnTo>
                  <a:pt x="208787" y="111760"/>
                </a:lnTo>
                <a:lnTo>
                  <a:pt x="213360" y="109220"/>
                </a:lnTo>
                <a:lnTo>
                  <a:pt x="213360" y="110490"/>
                </a:lnTo>
                <a:lnTo>
                  <a:pt x="211835" y="111760"/>
                </a:lnTo>
                <a:close/>
              </a:path>
              <a:path w="297179" h="252730">
                <a:moveTo>
                  <a:pt x="239267" y="139700"/>
                </a:moveTo>
                <a:lnTo>
                  <a:pt x="213360" y="139700"/>
                </a:lnTo>
                <a:lnTo>
                  <a:pt x="213360" y="109220"/>
                </a:lnTo>
                <a:lnTo>
                  <a:pt x="239267" y="109220"/>
                </a:lnTo>
                <a:lnTo>
                  <a:pt x="239267" y="114300"/>
                </a:lnTo>
                <a:lnTo>
                  <a:pt x="219455" y="114300"/>
                </a:lnTo>
                <a:lnTo>
                  <a:pt x="214883" y="118110"/>
                </a:lnTo>
                <a:lnTo>
                  <a:pt x="219455" y="118110"/>
                </a:lnTo>
                <a:lnTo>
                  <a:pt x="219455" y="129540"/>
                </a:lnTo>
                <a:lnTo>
                  <a:pt x="214883" y="129540"/>
                </a:lnTo>
                <a:lnTo>
                  <a:pt x="219455" y="132080"/>
                </a:lnTo>
                <a:lnTo>
                  <a:pt x="239267" y="132080"/>
                </a:lnTo>
                <a:lnTo>
                  <a:pt x="239267" y="139700"/>
                </a:lnTo>
                <a:close/>
              </a:path>
              <a:path w="297179" h="252730">
                <a:moveTo>
                  <a:pt x="239267" y="139700"/>
                </a:moveTo>
                <a:lnTo>
                  <a:pt x="239267" y="137160"/>
                </a:lnTo>
                <a:lnTo>
                  <a:pt x="240792" y="134620"/>
                </a:lnTo>
                <a:lnTo>
                  <a:pt x="240792" y="111760"/>
                </a:lnTo>
                <a:lnTo>
                  <a:pt x="239267" y="110490"/>
                </a:lnTo>
                <a:lnTo>
                  <a:pt x="239267" y="109220"/>
                </a:lnTo>
                <a:lnTo>
                  <a:pt x="243839" y="111760"/>
                </a:lnTo>
                <a:lnTo>
                  <a:pt x="246887" y="111760"/>
                </a:lnTo>
                <a:lnTo>
                  <a:pt x="246887" y="134620"/>
                </a:lnTo>
                <a:lnTo>
                  <a:pt x="243839" y="134620"/>
                </a:lnTo>
                <a:lnTo>
                  <a:pt x="239267" y="139700"/>
                </a:lnTo>
                <a:close/>
              </a:path>
              <a:path w="297179" h="252730">
                <a:moveTo>
                  <a:pt x="246887" y="111760"/>
                </a:moveTo>
                <a:lnTo>
                  <a:pt x="243839" y="111760"/>
                </a:lnTo>
                <a:lnTo>
                  <a:pt x="239267" y="109220"/>
                </a:lnTo>
                <a:lnTo>
                  <a:pt x="246887" y="109220"/>
                </a:lnTo>
                <a:lnTo>
                  <a:pt x="246887" y="111760"/>
                </a:lnTo>
                <a:close/>
              </a:path>
              <a:path w="297179" h="252730">
                <a:moveTo>
                  <a:pt x="57912" y="137160"/>
                </a:moveTo>
                <a:lnTo>
                  <a:pt x="56387" y="134620"/>
                </a:lnTo>
                <a:lnTo>
                  <a:pt x="56387" y="111760"/>
                </a:lnTo>
                <a:lnTo>
                  <a:pt x="57912" y="110490"/>
                </a:lnTo>
                <a:lnTo>
                  <a:pt x="57912" y="137160"/>
                </a:lnTo>
                <a:close/>
              </a:path>
              <a:path w="297179" h="252730">
                <a:moveTo>
                  <a:pt x="83819" y="137160"/>
                </a:moveTo>
                <a:lnTo>
                  <a:pt x="83819" y="110490"/>
                </a:lnTo>
                <a:lnTo>
                  <a:pt x="85344" y="111760"/>
                </a:lnTo>
                <a:lnTo>
                  <a:pt x="85344" y="134620"/>
                </a:lnTo>
                <a:lnTo>
                  <a:pt x="83819" y="137160"/>
                </a:lnTo>
                <a:close/>
              </a:path>
              <a:path w="297179" h="252730">
                <a:moveTo>
                  <a:pt x="135635" y="137160"/>
                </a:moveTo>
                <a:lnTo>
                  <a:pt x="109728" y="137160"/>
                </a:lnTo>
                <a:lnTo>
                  <a:pt x="108203" y="134620"/>
                </a:lnTo>
                <a:lnTo>
                  <a:pt x="108203" y="111760"/>
                </a:lnTo>
                <a:lnTo>
                  <a:pt x="109728" y="110490"/>
                </a:lnTo>
                <a:lnTo>
                  <a:pt x="135635" y="110490"/>
                </a:lnTo>
                <a:lnTo>
                  <a:pt x="135635" y="114300"/>
                </a:lnTo>
                <a:lnTo>
                  <a:pt x="115823" y="114300"/>
                </a:lnTo>
                <a:lnTo>
                  <a:pt x="112776" y="118110"/>
                </a:lnTo>
                <a:lnTo>
                  <a:pt x="115823" y="118110"/>
                </a:lnTo>
                <a:lnTo>
                  <a:pt x="115823" y="129540"/>
                </a:lnTo>
                <a:lnTo>
                  <a:pt x="112776" y="129540"/>
                </a:lnTo>
                <a:lnTo>
                  <a:pt x="115823" y="132080"/>
                </a:lnTo>
                <a:lnTo>
                  <a:pt x="135635" y="132080"/>
                </a:lnTo>
                <a:lnTo>
                  <a:pt x="135635" y="137160"/>
                </a:lnTo>
                <a:close/>
              </a:path>
              <a:path w="297179" h="252730">
                <a:moveTo>
                  <a:pt x="135635" y="137160"/>
                </a:moveTo>
                <a:lnTo>
                  <a:pt x="135635" y="110490"/>
                </a:lnTo>
                <a:lnTo>
                  <a:pt x="137160" y="111760"/>
                </a:lnTo>
                <a:lnTo>
                  <a:pt x="137160" y="134620"/>
                </a:lnTo>
                <a:lnTo>
                  <a:pt x="135635" y="137160"/>
                </a:lnTo>
                <a:close/>
              </a:path>
              <a:path w="297179" h="252730">
                <a:moveTo>
                  <a:pt x="161544" y="137160"/>
                </a:moveTo>
                <a:lnTo>
                  <a:pt x="160019" y="134620"/>
                </a:lnTo>
                <a:lnTo>
                  <a:pt x="160019" y="111760"/>
                </a:lnTo>
                <a:lnTo>
                  <a:pt x="161544" y="110490"/>
                </a:lnTo>
                <a:lnTo>
                  <a:pt x="161544" y="137160"/>
                </a:lnTo>
                <a:close/>
              </a:path>
              <a:path w="297179" h="252730">
                <a:moveTo>
                  <a:pt x="187451" y="111124"/>
                </a:moveTo>
                <a:lnTo>
                  <a:pt x="185928" y="110490"/>
                </a:lnTo>
                <a:lnTo>
                  <a:pt x="187451" y="110490"/>
                </a:lnTo>
                <a:lnTo>
                  <a:pt x="187451" y="111124"/>
                </a:lnTo>
                <a:close/>
              </a:path>
              <a:path w="297179" h="252730">
                <a:moveTo>
                  <a:pt x="213360" y="137160"/>
                </a:moveTo>
                <a:lnTo>
                  <a:pt x="211835" y="134620"/>
                </a:lnTo>
                <a:lnTo>
                  <a:pt x="211835" y="111760"/>
                </a:lnTo>
                <a:lnTo>
                  <a:pt x="213360" y="110490"/>
                </a:lnTo>
                <a:lnTo>
                  <a:pt x="213360" y="137160"/>
                </a:lnTo>
                <a:close/>
              </a:path>
              <a:path w="297179" h="252730">
                <a:moveTo>
                  <a:pt x="239267" y="137160"/>
                </a:moveTo>
                <a:lnTo>
                  <a:pt x="239267" y="110490"/>
                </a:lnTo>
                <a:lnTo>
                  <a:pt x="240792" y="111760"/>
                </a:lnTo>
                <a:lnTo>
                  <a:pt x="240792" y="134620"/>
                </a:lnTo>
                <a:lnTo>
                  <a:pt x="239267" y="137160"/>
                </a:lnTo>
                <a:close/>
              </a:path>
              <a:path w="297179" h="252730">
                <a:moveTo>
                  <a:pt x="187451" y="135890"/>
                </a:moveTo>
                <a:lnTo>
                  <a:pt x="187451" y="111124"/>
                </a:lnTo>
                <a:lnTo>
                  <a:pt x="188976" y="111760"/>
                </a:lnTo>
                <a:lnTo>
                  <a:pt x="188976" y="134620"/>
                </a:lnTo>
                <a:lnTo>
                  <a:pt x="187451" y="135890"/>
                </a:lnTo>
                <a:close/>
              </a:path>
              <a:path w="297179" h="252730">
                <a:moveTo>
                  <a:pt x="64007" y="118110"/>
                </a:moveTo>
                <a:lnTo>
                  <a:pt x="59435" y="118110"/>
                </a:lnTo>
                <a:lnTo>
                  <a:pt x="64007" y="114300"/>
                </a:lnTo>
                <a:lnTo>
                  <a:pt x="64007" y="118110"/>
                </a:lnTo>
                <a:close/>
              </a:path>
              <a:path w="297179" h="252730">
                <a:moveTo>
                  <a:pt x="77723" y="118110"/>
                </a:moveTo>
                <a:lnTo>
                  <a:pt x="64007" y="118110"/>
                </a:lnTo>
                <a:lnTo>
                  <a:pt x="64007" y="114300"/>
                </a:lnTo>
                <a:lnTo>
                  <a:pt x="77723" y="114300"/>
                </a:lnTo>
                <a:lnTo>
                  <a:pt x="77723" y="118110"/>
                </a:lnTo>
                <a:close/>
              </a:path>
              <a:path w="297179" h="252730">
                <a:moveTo>
                  <a:pt x="77723" y="132080"/>
                </a:moveTo>
                <a:lnTo>
                  <a:pt x="77723" y="114300"/>
                </a:lnTo>
                <a:lnTo>
                  <a:pt x="82296" y="118110"/>
                </a:lnTo>
                <a:lnTo>
                  <a:pt x="83819" y="118110"/>
                </a:lnTo>
                <a:lnTo>
                  <a:pt x="83819" y="129540"/>
                </a:lnTo>
                <a:lnTo>
                  <a:pt x="82296" y="129540"/>
                </a:lnTo>
                <a:lnTo>
                  <a:pt x="77723" y="132080"/>
                </a:lnTo>
                <a:close/>
              </a:path>
              <a:path w="297179" h="252730">
                <a:moveTo>
                  <a:pt x="83819" y="118110"/>
                </a:moveTo>
                <a:lnTo>
                  <a:pt x="82296" y="118110"/>
                </a:lnTo>
                <a:lnTo>
                  <a:pt x="77723" y="114300"/>
                </a:lnTo>
                <a:lnTo>
                  <a:pt x="83819" y="114300"/>
                </a:lnTo>
                <a:lnTo>
                  <a:pt x="83819" y="118110"/>
                </a:lnTo>
                <a:close/>
              </a:path>
              <a:path w="297179" h="252730">
                <a:moveTo>
                  <a:pt x="115823" y="118110"/>
                </a:moveTo>
                <a:lnTo>
                  <a:pt x="112776" y="118110"/>
                </a:lnTo>
                <a:lnTo>
                  <a:pt x="115823" y="114300"/>
                </a:lnTo>
                <a:lnTo>
                  <a:pt x="115823" y="118110"/>
                </a:lnTo>
                <a:close/>
              </a:path>
              <a:path w="297179" h="252730">
                <a:moveTo>
                  <a:pt x="129539" y="118110"/>
                </a:moveTo>
                <a:lnTo>
                  <a:pt x="115823" y="118110"/>
                </a:lnTo>
                <a:lnTo>
                  <a:pt x="115823" y="114300"/>
                </a:lnTo>
                <a:lnTo>
                  <a:pt x="129539" y="114300"/>
                </a:lnTo>
                <a:lnTo>
                  <a:pt x="129539" y="118110"/>
                </a:lnTo>
                <a:close/>
              </a:path>
              <a:path w="297179" h="252730">
                <a:moveTo>
                  <a:pt x="129539" y="132080"/>
                </a:moveTo>
                <a:lnTo>
                  <a:pt x="129539" y="114300"/>
                </a:lnTo>
                <a:lnTo>
                  <a:pt x="132587" y="118110"/>
                </a:lnTo>
                <a:lnTo>
                  <a:pt x="135635" y="118110"/>
                </a:lnTo>
                <a:lnTo>
                  <a:pt x="135635" y="129540"/>
                </a:lnTo>
                <a:lnTo>
                  <a:pt x="132587" y="129540"/>
                </a:lnTo>
                <a:lnTo>
                  <a:pt x="129539" y="132080"/>
                </a:lnTo>
                <a:close/>
              </a:path>
              <a:path w="297179" h="252730">
                <a:moveTo>
                  <a:pt x="135635" y="118110"/>
                </a:moveTo>
                <a:lnTo>
                  <a:pt x="132587" y="118110"/>
                </a:lnTo>
                <a:lnTo>
                  <a:pt x="129539" y="114300"/>
                </a:lnTo>
                <a:lnTo>
                  <a:pt x="135635" y="114300"/>
                </a:lnTo>
                <a:lnTo>
                  <a:pt x="135635" y="118110"/>
                </a:lnTo>
                <a:close/>
              </a:path>
              <a:path w="297179" h="252730">
                <a:moveTo>
                  <a:pt x="167639" y="118110"/>
                </a:moveTo>
                <a:lnTo>
                  <a:pt x="164592" y="118110"/>
                </a:lnTo>
                <a:lnTo>
                  <a:pt x="167639" y="114300"/>
                </a:lnTo>
                <a:lnTo>
                  <a:pt x="167639" y="118110"/>
                </a:lnTo>
                <a:close/>
              </a:path>
              <a:path w="297179" h="252730">
                <a:moveTo>
                  <a:pt x="179832" y="118110"/>
                </a:moveTo>
                <a:lnTo>
                  <a:pt x="167639" y="118110"/>
                </a:lnTo>
                <a:lnTo>
                  <a:pt x="167639" y="114300"/>
                </a:lnTo>
                <a:lnTo>
                  <a:pt x="179832" y="114300"/>
                </a:lnTo>
                <a:lnTo>
                  <a:pt x="179832" y="118110"/>
                </a:lnTo>
                <a:close/>
              </a:path>
              <a:path w="297179" h="252730">
                <a:moveTo>
                  <a:pt x="179832" y="132080"/>
                </a:moveTo>
                <a:lnTo>
                  <a:pt x="179832" y="114300"/>
                </a:lnTo>
                <a:lnTo>
                  <a:pt x="184403" y="118110"/>
                </a:lnTo>
                <a:lnTo>
                  <a:pt x="187451" y="118110"/>
                </a:lnTo>
                <a:lnTo>
                  <a:pt x="187451" y="129540"/>
                </a:lnTo>
                <a:lnTo>
                  <a:pt x="184403" y="129540"/>
                </a:lnTo>
                <a:lnTo>
                  <a:pt x="179832" y="132080"/>
                </a:lnTo>
                <a:close/>
              </a:path>
              <a:path w="297179" h="252730">
                <a:moveTo>
                  <a:pt x="187451" y="118110"/>
                </a:moveTo>
                <a:lnTo>
                  <a:pt x="184403" y="118110"/>
                </a:lnTo>
                <a:lnTo>
                  <a:pt x="179832" y="114300"/>
                </a:lnTo>
                <a:lnTo>
                  <a:pt x="187451" y="114300"/>
                </a:lnTo>
                <a:lnTo>
                  <a:pt x="187451" y="118110"/>
                </a:lnTo>
                <a:close/>
              </a:path>
              <a:path w="297179" h="252730">
                <a:moveTo>
                  <a:pt x="219455" y="118110"/>
                </a:moveTo>
                <a:lnTo>
                  <a:pt x="214883" y="118110"/>
                </a:lnTo>
                <a:lnTo>
                  <a:pt x="219455" y="114300"/>
                </a:lnTo>
                <a:lnTo>
                  <a:pt x="219455" y="118110"/>
                </a:lnTo>
                <a:close/>
              </a:path>
              <a:path w="297179" h="252730">
                <a:moveTo>
                  <a:pt x="233171" y="118110"/>
                </a:moveTo>
                <a:lnTo>
                  <a:pt x="219455" y="118110"/>
                </a:lnTo>
                <a:lnTo>
                  <a:pt x="219455" y="114300"/>
                </a:lnTo>
                <a:lnTo>
                  <a:pt x="233171" y="114300"/>
                </a:lnTo>
                <a:lnTo>
                  <a:pt x="233171" y="118110"/>
                </a:lnTo>
                <a:close/>
              </a:path>
              <a:path w="297179" h="252730">
                <a:moveTo>
                  <a:pt x="233171" y="132080"/>
                </a:moveTo>
                <a:lnTo>
                  <a:pt x="233171" y="114300"/>
                </a:lnTo>
                <a:lnTo>
                  <a:pt x="237744" y="118110"/>
                </a:lnTo>
                <a:lnTo>
                  <a:pt x="239267" y="118110"/>
                </a:lnTo>
                <a:lnTo>
                  <a:pt x="239267" y="129540"/>
                </a:lnTo>
                <a:lnTo>
                  <a:pt x="237744" y="129540"/>
                </a:lnTo>
                <a:lnTo>
                  <a:pt x="233171" y="132080"/>
                </a:lnTo>
                <a:close/>
              </a:path>
              <a:path w="297179" h="252730">
                <a:moveTo>
                  <a:pt x="239267" y="118110"/>
                </a:moveTo>
                <a:lnTo>
                  <a:pt x="237744" y="118110"/>
                </a:lnTo>
                <a:lnTo>
                  <a:pt x="233171" y="114300"/>
                </a:lnTo>
                <a:lnTo>
                  <a:pt x="239267" y="114300"/>
                </a:lnTo>
                <a:lnTo>
                  <a:pt x="239267" y="118110"/>
                </a:lnTo>
                <a:close/>
              </a:path>
              <a:path w="297179" h="252730">
                <a:moveTo>
                  <a:pt x="64007" y="132080"/>
                </a:moveTo>
                <a:lnTo>
                  <a:pt x="59435" y="129540"/>
                </a:lnTo>
                <a:lnTo>
                  <a:pt x="64007" y="129540"/>
                </a:lnTo>
                <a:lnTo>
                  <a:pt x="64007" y="132080"/>
                </a:lnTo>
                <a:close/>
              </a:path>
              <a:path w="297179" h="252730">
                <a:moveTo>
                  <a:pt x="77723" y="132080"/>
                </a:moveTo>
                <a:lnTo>
                  <a:pt x="64007" y="132080"/>
                </a:lnTo>
                <a:lnTo>
                  <a:pt x="64007" y="129540"/>
                </a:lnTo>
                <a:lnTo>
                  <a:pt x="77723" y="129540"/>
                </a:lnTo>
                <a:lnTo>
                  <a:pt x="77723" y="132080"/>
                </a:lnTo>
                <a:close/>
              </a:path>
              <a:path w="297179" h="252730">
                <a:moveTo>
                  <a:pt x="83819" y="132080"/>
                </a:moveTo>
                <a:lnTo>
                  <a:pt x="77723" y="132080"/>
                </a:lnTo>
                <a:lnTo>
                  <a:pt x="82296" y="129540"/>
                </a:lnTo>
                <a:lnTo>
                  <a:pt x="83819" y="129540"/>
                </a:lnTo>
                <a:lnTo>
                  <a:pt x="83819" y="132080"/>
                </a:lnTo>
                <a:close/>
              </a:path>
              <a:path w="297179" h="252730">
                <a:moveTo>
                  <a:pt x="115823" y="132080"/>
                </a:moveTo>
                <a:lnTo>
                  <a:pt x="112776" y="129540"/>
                </a:lnTo>
                <a:lnTo>
                  <a:pt x="115823" y="129540"/>
                </a:lnTo>
                <a:lnTo>
                  <a:pt x="115823" y="132080"/>
                </a:lnTo>
                <a:close/>
              </a:path>
              <a:path w="297179" h="252730">
                <a:moveTo>
                  <a:pt x="129539" y="132080"/>
                </a:moveTo>
                <a:lnTo>
                  <a:pt x="115823" y="132080"/>
                </a:lnTo>
                <a:lnTo>
                  <a:pt x="115823" y="129540"/>
                </a:lnTo>
                <a:lnTo>
                  <a:pt x="129539" y="129540"/>
                </a:lnTo>
                <a:lnTo>
                  <a:pt x="129539" y="132080"/>
                </a:lnTo>
                <a:close/>
              </a:path>
              <a:path w="297179" h="252730">
                <a:moveTo>
                  <a:pt x="135635" y="132080"/>
                </a:moveTo>
                <a:lnTo>
                  <a:pt x="129539" y="132080"/>
                </a:lnTo>
                <a:lnTo>
                  <a:pt x="132587" y="129540"/>
                </a:lnTo>
                <a:lnTo>
                  <a:pt x="135635" y="129540"/>
                </a:lnTo>
                <a:lnTo>
                  <a:pt x="135635" y="132080"/>
                </a:lnTo>
                <a:close/>
              </a:path>
              <a:path w="297179" h="252730">
                <a:moveTo>
                  <a:pt x="167639" y="132080"/>
                </a:moveTo>
                <a:lnTo>
                  <a:pt x="164592" y="129540"/>
                </a:lnTo>
                <a:lnTo>
                  <a:pt x="167639" y="129540"/>
                </a:lnTo>
                <a:lnTo>
                  <a:pt x="167639" y="132080"/>
                </a:lnTo>
                <a:close/>
              </a:path>
              <a:path w="297179" h="252730">
                <a:moveTo>
                  <a:pt x="179832" y="132080"/>
                </a:moveTo>
                <a:lnTo>
                  <a:pt x="167639" y="132080"/>
                </a:lnTo>
                <a:lnTo>
                  <a:pt x="167639" y="129540"/>
                </a:lnTo>
                <a:lnTo>
                  <a:pt x="179832" y="129540"/>
                </a:lnTo>
                <a:lnTo>
                  <a:pt x="179832" y="132080"/>
                </a:lnTo>
                <a:close/>
              </a:path>
              <a:path w="297179" h="252730">
                <a:moveTo>
                  <a:pt x="187451" y="132080"/>
                </a:moveTo>
                <a:lnTo>
                  <a:pt x="179832" y="132080"/>
                </a:lnTo>
                <a:lnTo>
                  <a:pt x="184403" y="129540"/>
                </a:lnTo>
                <a:lnTo>
                  <a:pt x="187451" y="129540"/>
                </a:lnTo>
                <a:lnTo>
                  <a:pt x="187451" y="132080"/>
                </a:lnTo>
                <a:close/>
              </a:path>
              <a:path w="297179" h="252730">
                <a:moveTo>
                  <a:pt x="219455" y="132080"/>
                </a:moveTo>
                <a:lnTo>
                  <a:pt x="214883" y="129540"/>
                </a:lnTo>
                <a:lnTo>
                  <a:pt x="219455" y="129540"/>
                </a:lnTo>
                <a:lnTo>
                  <a:pt x="219455" y="132080"/>
                </a:lnTo>
                <a:close/>
              </a:path>
              <a:path w="297179" h="252730">
                <a:moveTo>
                  <a:pt x="233171" y="132080"/>
                </a:moveTo>
                <a:lnTo>
                  <a:pt x="219455" y="132080"/>
                </a:lnTo>
                <a:lnTo>
                  <a:pt x="219455" y="129540"/>
                </a:lnTo>
                <a:lnTo>
                  <a:pt x="233171" y="129540"/>
                </a:lnTo>
                <a:lnTo>
                  <a:pt x="233171" y="132080"/>
                </a:lnTo>
                <a:close/>
              </a:path>
              <a:path w="297179" h="252730">
                <a:moveTo>
                  <a:pt x="239267" y="132080"/>
                </a:moveTo>
                <a:lnTo>
                  <a:pt x="233171" y="132080"/>
                </a:lnTo>
                <a:lnTo>
                  <a:pt x="237744" y="129540"/>
                </a:lnTo>
                <a:lnTo>
                  <a:pt x="239267" y="129540"/>
                </a:lnTo>
                <a:lnTo>
                  <a:pt x="239267" y="132080"/>
                </a:lnTo>
                <a:close/>
              </a:path>
              <a:path w="297179" h="252730">
                <a:moveTo>
                  <a:pt x="57912" y="139700"/>
                </a:moveTo>
                <a:lnTo>
                  <a:pt x="53339" y="134620"/>
                </a:lnTo>
                <a:lnTo>
                  <a:pt x="56387" y="134620"/>
                </a:lnTo>
                <a:lnTo>
                  <a:pt x="57912" y="137160"/>
                </a:lnTo>
                <a:lnTo>
                  <a:pt x="57912" y="139700"/>
                </a:lnTo>
                <a:close/>
              </a:path>
              <a:path w="297179" h="252730">
                <a:moveTo>
                  <a:pt x="91439" y="139700"/>
                </a:moveTo>
                <a:lnTo>
                  <a:pt x="83819" y="139700"/>
                </a:lnTo>
                <a:lnTo>
                  <a:pt x="88392" y="134620"/>
                </a:lnTo>
                <a:lnTo>
                  <a:pt x="91439" y="134620"/>
                </a:lnTo>
                <a:lnTo>
                  <a:pt x="91439" y="139700"/>
                </a:lnTo>
                <a:close/>
              </a:path>
              <a:path w="297179" h="252730">
                <a:moveTo>
                  <a:pt x="108203" y="139700"/>
                </a:moveTo>
                <a:lnTo>
                  <a:pt x="105155" y="134620"/>
                </a:lnTo>
                <a:lnTo>
                  <a:pt x="108203" y="134620"/>
                </a:lnTo>
                <a:lnTo>
                  <a:pt x="108203" y="139700"/>
                </a:lnTo>
                <a:close/>
              </a:path>
              <a:path w="297179" h="252730">
                <a:moveTo>
                  <a:pt x="135635" y="139700"/>
                </a:moveTo>
                <a:lnTo>
                  <a:pt x="108203" y="139700"/>
                </a:lnTo>
                <a:lnTo>
                  <a:pt x="108203" y="134620"/>
                </a:lnTo>
                <a:lnTo>
                  <a:pt x="109728" y="137160"/>
                </a:lnTo>
                <a:lnTo>
                  <a:pt x="135635" y="137160"/>
                </a:lnTo>
                <a:lnTo>
                  <a:pt x="135635" y="139700"/>
                </a:lnTo>
                <a:close/>
              </a:path>
              <a:path w="297179" h="252730">
                <a:moveTo>
                  <a:pt x="143255" y="139700"/>
                </a:moveTo>
                <a:lnTo>
                  <a:pt x="135635" y="139700"/>
                </a:lnTo>
                <a:lnTo>
                  <a:pt x="138683" y="134620"/>
                </a:lnTo>
                <a:lnTo>
                  <a:pt x="143255" y="134620"/>
                </a:lnTo>
                <a:lnTo>
                  <a:pt x="143255" y="139700"/>
                </a:lnTo>
                <a:close/>
              </a:path>
              <a:path w="297179" h="252730">
                <a:moveTo>
                  <a:pt x="161544" y="139700"/>
                </a:moveTo>
                <a:lnTo>
                  <a:pt x="156971" y="134620"/>
                </a:lnTo>
                <a:lnTo>
                  <a:pt x="160019" y="134620"/>
                </a:lnTo>
                <a:lnTo>
                  <a:pt x="161544" y="137160"/>
                </a:lnTo>
                <a:lnTo>
                  <a:pt x="161544" y="139700"/>
                </a:lnTo>
                <a:close/>
              </a:path>
              <a:path w="297179" h="252730">
                <a:moveTo>
                  <a:pt x="196596" y="139700"/>
                </a:moveTo>
                <a:lnTo>
                  <a:pt x="187451" y="139700"/>
                </a:lnTo>
                <a:lnTo>
                  <a:pt x="192023" y="134620"/>
                </a:lnTo>
                <a:lnTo>
                  <a:pt x="196596" y="134620"/>
                </a:lnTo>
                <a:lnTo>
                  <a:pt x="196596" y="139700"/>
                </a:lnTo>
                <a:close/>
              </a:path>
              <a:path w="297179" h="252730">
                <a:moveTo>
                  <a:pt x="213360" y="139700"/>
                </a:moveTo>
                <a:lnTo>
                  <a:pt x="208787" y="134620"/>
                </a:lnTo>
                <a:lnTo>
                  <a:pt x="211835" y="134620"/>
                </a:lnTo>
                <a:lnTo>
                  <a:pt x="213360" y="137160"/>
                </a:lnTo>
                <a:lnTo>
                  <a:pt x="213360" y="139700"/>
                </a:lnTo>
                <a:close/>
              </a:path>
              <a:path w="297179" h="252730">
                <a:moveTo>
                  <a:pt x="246887" y="139700"/>
                </a:moveTo>
                <a:lnTo>
                  <a:pt x="239267" y="139700"/>
                </a:lnTo>
                <a:lnTo>
                  <a:pt x="243839" y="134620"/>
                </a:lnTo>
                <a:lnTo>
                  <a:pt x="246887" y="134620"/>
                </a:lnTo>
                <a:lnTo>
                  <a:pt x="246887" y="139700"/>
                </a:lnTo>
                <a:close/>
              </a:path>
              <a:path w="297179" h="252730">
                <a:moveTo>
                  <a:pt x="187451" y="137160"/>
                </a:moveTo>
                <a:lnTo>
                  <a:pt x="185928" y="137160"/>
                </a:lnTo>
                <a:lnTo>
                  <a:pt x="187451" y="135890"/>
                </a:lnTo>
                <a:lnTo>
                  <a:pt x="187451" y="137160"/>
                </a:lnTo>
                <a:close/>
              </a:path>
              <a:path w="297179" h="252730">
                <a:moveTo>
                  <a:pt x="89916" y="180340"/>
                </a:moveTo>
                <a:lnTo>
                  <a:pt x="51816" y="180340"/>
                </a:lnTo>
                <a:lnTo>
                  <a:pt x="48767" y="179070"/>
                </a:lnTo>
                <a:lnTo>
                  <a:pt x="48767" y="146050"/>
                </a:lnTo>
                <a:lnTo>
                  <a:pt x="51816" y="144780"/>
                </a:lnTo>
                <a:lnTo>
                  <a:pt x="89916" y="144780"/>
                </a:lnTo>
                <a:lnTo>
                  <a:pt x="91439" y="146050"/>
                </a:lnTo>
                <a:lnTo>
                  <a:pt x="91439" y="148590"/>
                </a:lnTo>
                <a:lnTo>
                  <a:pt x="57912" y="148590"/>
                </a:lnTo>
                <a:lnTo>
                  <a:pt x="53339" y="152400"/>
                </a:lnTo>
                <a:lnTo>
                  <a:pt x="56387" y="152400"/>
                </a:lnTo>
                <a:lnTo>
                  <a:pt x="56387" y="172720"/>
                </a:lnTo>
                <a:lnTo>
                  <a:pt x="53339" y="172720"/>
                </a:lnTo>
                <a:lnTo>
                  <a:pt x="57912" y="177800"/>
                </a:lnTo>
                <a:lnTo>
                  <a:pt x="91439" y="177800"/>
                </a:lnTo>
                <a:lnTo>
                  <a:pt x="91439" y="179070"/>
                </a:lnTo>
                <a:lnTo>
                  <a:pt x="89916" y="180340"/>
                </a:lnTo>
                <a:close/>
              </a:path>
              <a:path w="297179" h="252730">
                <a:moveTo>
                  <a:pt x="141732" y="180340"/>
                </a:moveTo>
                <a:lnTo>
                  <a:pt x="102107" y="180340"/>
                </a:lnTo>
                <a:lnTo>
                  <a:pt x="100583" y="179070"/>
                </a:lnTo>
                <a:lnTo>
                  <a:pt x="100583" y="146050"/>
                </a:lnTo>
                <a:lnTo>
                  <a:pt x="102107" y="144780"/>
                </a:lnTo>
                <a:lnTo>
                  <a:pt x="141732" y="144780"/>
                </a:lnTo>
                <a:lnTo>
                  <a:pt x="143255" y="146050"/>
                </a:lnTo>
                <a:lnTo>
                  <a:pt x="143255" y="148590"/>
                </a:lnTo>
                <a:lnTo>
                  <a:pt x="108203" y="148590"/>
                </a:lnTo>
                <a:lnTo>
                  <a:pt x="105155" y="152400"/>
                </a:lnTo>
                <a:lnTo>
                  <a:pt x="108203" y="152400"/>
                </a:lnTo>
                <a:lnTo>
                  <a:pt x="108203" y="172720"/>
                </a:lnTo>
                <a:lnTo>
                  <a:pt x="105155" y="172720"/>
                </a:lnTo>
                <a:lnTo>
                  <a:pt x="108203" y="177800"/>
                </a:lnTo>
                <a:lnTo>
                  <a:pt x="143255" y="177800"/>
                </a:lnTo>
                <a:lnTo>
                  <a:pt x="143255" y="179070"/>
                </a:lnTo>
                <a:lnTo>
                  <a:pt x="141732" y="180340"/>
                </a:lnTo>
                <a:close/>
              </a:path>
              <a:path w="297179" h="252730">
                <a:moveTo>
                  <a:pt x="193548" y="180340"/>
                </a:moveTo>
                <a:lnTo>
                  <a:pt x="155448" y="180340"/>
                </a:lnTo>
                <a:lnTo>
                  <a:pt x="153923" y="179070"/>
                </a:lnTo>
                <a:lnTo>
                  <a:pt x="153923" y="146050"/>
                </a:lnTo>
                <a:lnTo>
                  <a:pt x="155448" y="144780"/>
                </a:lnTo>
                <a:lnTo>
                  <a:pt x="193548" y="144780"/>
                </a:lnTo>
                <a:lnTo>
                  <a:pt x="196596" y="146050"/>
                </a:lnTo>
                <a:lnTo>
                  <a:pt x="196596" y="148590"/>
                </a:lnTo>
                <a:lnTo>
                  <a:pt x="161544" y="148590"/>
                </a:lnTo>
                <a:lnTo>
                  <a:pt x="156971" y="152400"/>
                </a:lnTo>
                <a:lnTo>
                  <a:pt x="160019" y="152400"/>
                </a:lnTo>
                <a:lnTo>
                  <a:pt x="160019" y="172720"/>
                </a:lnTo>
                <a:lnTo>
                  <a:pt x="156971" y="172720"/>
                </a:lnTo>
                <a:lnTo>
                  <a:pt x="161544" y="177800"/>
                </a:lnTo>
                <a:lnTo>
                  <a:pt x="196596" y="177800"/>
                </a:lnTo>
                <a:lnTo>
                  <a:pt x="196596" y="179070"/>
                </a:lnTo>
                <a:lnTo>
                  <a:pt x="193548" y="180340"/>
                </a:lnTo>
                <a:close/>
              </a:path>
              <a:path w="297179" h="252730">
                <a:moveTo>
                  <a:pt x="245364" y="180340"/>
                </a:moveTo>
                <a:lnTo>
                  <a:pt x="207264" y="180340"/>
                </a:lnTo>
                <a:lnTo>
                  <a:pt x="205739" y="179070"/>
                </a:lnTo>
                <a:lnTo>
                  <a:pt x="205739" y="146050"/>
                </a:lnTo>
                <a:lnTo>
                  <a:pt x="207264" y="144780"/>
                </a:lnTo>
                <a:lnTo>
                  <a:pt x="245364" y="144780"/>
                </a:lnTo>
                <a:lnTo>
                  <a:pt x="246887" y="146050"/>
                </a:lnTo>
                <a:lnTo>
                  <a:pt x="246887" y="148590"/>
                </a:lnTo>
                <a:lnTo>
                  <a:pt x="213360" y="148590"/>
                </a:lnTo>
                <a:lnTo>
                  <a:pt x="208787" y="152400"/>
                </a:lnTo>
                <a:lnTo>
                  <a:pt x="211835" y="152400"/>
                </a:lnTo>
                <a:lnTo>
                  <a:pt x="211835" y="172720"/>
                </a:lnTo>
                <a:lnTo>
                  <a:pt x="208787" y="172720"/>
                </a:lnTo>
                <a:lnTo>
                  <a:pt x="213360" y="177800"/>
                </a:lnTo>
                <a:lnTo>
                  <a:pt x="246887" y="177800"/>
                </a:lnTo>
                <a:lnTo>
                  <a:pt x="246887" y="179070"/>
                </a:lnTo>
                <a:lnTo>
                  <a:pt x="245364" y="180340"/>
                </a:lnTo>
                <a:close/>
              </a:path>
              <a:path w="297179" h="252730">
                <a:moveTo>
                  <a:pt x="56387" y="152400"/>
                </a:moveTo>
                <a:lnTo>
                  <a:pt x="53339" y="152400"/>
                </a:lnTo>
                <a:lnTo>
                  <a:pt x="57912" y="148590"/>
                </a:lnTo>
                <a:lnTo>
                  <a:pt x="57912" y="149860"/>
                </a:lnTo>
                <a:lnTo>
                  <a:pt x="56387" y="152400"/>
                </a:lnTo>
                <a:close/>
              </a:path>
              <a:path w="297179" h="252730">
                <a:moveTo>
                  <a:pt x="83819" y="177800"/>
                </a:moveTo>
                <a:lnTo>
                  <a:pt x="57912" y="177800"/>
                </a:lnTo>
                <a:lnTo>
                  <a:pt x="57912" y="148590"/>
                </a:lnTo>
                <a:lnTo>
                  <a:pt x="83819" y="148590"/>
                </a:lnTo>
                <a:lnTo>
                  <a:pt x="83819" y="153670"/>
                </a:lnTo>
                <a:lnTo>
                  <a:pt x="64007" y="153670"/>
                </a:lnTo>
                <a:lnTo>
                  <a:pt x="59435" y="157480"/>
                </a:lnTo>
                <a:lnTo>
                  <a:pt x="64007" y="157480"/>
                </a:lnTo>
                <a:lnTo>
                  <a:pt x="64007" y="168910"/>
                </a:lnTo>
                <a:lnTo>
                  <a:pt x="59435" y="168910"/>
                </a:lnTo>
                <a:lnTo>
                  <a:pt x="64007" y="172720"/>
                </a:lnTo>
                <a:lnTo>
                  <a:pt x="83819" y="172720"/>
                </a:lnTo>
                <a:lnTo>
                  <a:pt x="83819" y="177800"/>
                </a:lnTo>
                <a:close/>
              </a:path>
              <a:path w="297179" h="252730">
                <a:moveTo>
                  <a:pt x="83819" y="177800"/>
                </a:moveTo>
                <a:lnTo>
                  <a:pt x="83819" y="176530"/>
                </a:lnTo>
                <a:lnTo>
                  <a:pt x="85343" y="175260"/>
                </a:lnTo>
                <a:lnTo>
                  <a:pt x="85344" y="152400"/>
                </a:lnTo>
                <a:lnTo>
                  <a:pt x="83819" y="149860"/>
                </a:lnTo>
                <a:lnTo>
                  <a:pt x="83819" y="148590"/>
                </a:lnTo>
                <a:lnTo>
                  <a:pt x="88392" y="152400"/>
                </a:lnTo>
                <a:lnTo>
                  <a:pt x="91439" y="152400"/>
                </a:lnTo>
                <a:lnTo>
                  <a:pt x="91439" y="172720"/>
                </a:lnTo>
                <a:lnTo>
                  <a:pt x="88392" y="172720"/>
                </a:lnTo>
                <a:lnTo>
                  <a:pt x="83819" y="177800"/>
                </a:lnTo>
                <a:close/>
              </a:path>
              <a:path w="297179" h="252730">
                <a:moveTo>
                  <a:pt x="91439" y="152400"/>
                </a:moveTo>
                <a:lnTo>
                  <a:pt x="88392" y="152400"/>
                </a:lnTo>
                <a:lnTo>
                  <a:pt x="83819" y="148590"/>
                </a:lnTo>
                <a:lnTo>
                  <a:pt x="91439" y="148590"/>
                </a:lnTo>
                <a:lnTo>
                  <a:pt x="91439" y="152400"/>
                </a:lnTo>
                <a:close/>
              </a:path>
              <a:path w="297179" h="252730">
                <a:moveTo>
                  <a:pt x="108203" y="152400"/>
                </a:moveTo>
                <a:lnTo>
                  <a:pt x="105155" y="152400"/>
                </a:lnTo>
                <a:lnTo>
                  <a:pt x="108203" y="148590"/>
                </a:lnTo>
                <a:lnTo>
                  <a:pt x="108203" y="152400"/>
                </a:lnTo>
                <a:close/>
              </a:path>
              <a:path w="297179" h="252730">
                <a:moveTo>
                  <a:pt x="108203" y="152400"/>
                </a:moveTo>
                <a:lnTo>
                  <a:pt x="108203" y="148590"/>
                </a:lnTo>
                <a:lnTo>
                  <a:pt x="135635" y="148590"/>
                </a:lnTo>
                <a:lnTo>
                  <a:pt x="135635" y="149860"/>
                </a:lnTo>
                <a:lnTo>
                  <a:pt x="109728" y="149860"/>
                </a:lnTo>
                <a:lnTo>
                  <a:pt x="108203" y="152400"/>
                </a:lnTo>
                <a:close/>
              </a:path>
              <a:path w="297179" h="252730">
                <a:moveTo>
                  <a:pt x="137160" y="175259"/>
                </a:moveTo>
                <a:lnTo>
                  <a:pt x="137160" y="152400"/>
                </a:lnTo>
                <a:lnTo>
                  <a:pt x="135635" y="149860"/>
                </a:lnTo>
                <a:lnTo>
                  <a:pt x="135635" y="148590"/>
                </a:lnTo>
                <a:lnTo>
                  <a:pt x="138683" y="152400"/>
                </a:lnTo>
                <a:lnTo>
                  <a:pt x="143255" y="152400"/>
                </a:lnTo>
                <a:lnTo>
                  <a:pt x="143255" y="172720"/>
                </a:lnTo>
                <a:lnTo>
                  <a:pt x="138683" y="172720"/>
                </a:lnTo>
                <a:lnTo>
                  <a:pt x="137160" y="175259"/>
                </a:lnTo>
                <a:close/>
              </a:path>
              <a:path w="297179" h="252730">
                <a:moveTo>
                  <a:pt x="143255" y="152400"/>
                </a:moveTo>
                <a:lnTo>
                  <a:pt x="138683" y="152400"/>
                </a:lnTo>
                <a:lnTo>
                  <a:pt x="135635" y="148590"/>
                </a:lnTo>
                <a:lnTo>
                  <a:pt x="143255" y="148590"/>
                </a:lnTo>
                <a:lnTo>
                  <a:pt x="143255" y="152400"/>
                </a:lnTo>
                <a:close/>
              </a:path>
              <a:path w="297179" h="252730">
                <a:moveTo>
                  <a:pt x="160019" y="152400"/>
                </a:moveTo>
                <a:lnTo>
                  <a:pt x="156971" y="152400"/>
                </a:lnTo>
                <a:lnTo>
                  <a:pt x="161544" y="148590"/>
                </a:lnTo>
                <a:lnTo>
                  <a:pt x="161544" y="149860"/>
                </a:lnTo>
                <a:lnTo>
                  <a:pt x="160019" y="152400"/>
                </a:lnTo>
                <a:close/>
              </a:path>
              <a:path w="297179" h="252730">
                <a:moveTo>
                  <a:pt x="187451" y="177800"/>
                </a:moveTo>
                <a:lnTo>
                  <a:pt x="161544" y="177800"/>
                </a:lnTo>
                <a:lnTo>
                  <a:pt x="161544" y="148590"/>
                </a:lnTo>
                <a:lnTo>
                  <a:pt x="187451" y="148590"/>
                </a:lnTo>
                <a:lnTo>
                  <a:pt x="187451" y="149860"/>
                </a:lnTo>
                <a:lnTo>
                  <a:pt x="185928" y="149860"/>
                </a:lnTo>
                <a:lnTo>
                  <a:pt x="187451" y="151129"/>
                </a:lnTo>
                <a:lnTo>
                  <a:pt x="187451" y="153670"/>
                </a:lnTo>
                <a:lnTo>
                  <a:pt x="167639" y="153670"/>
                </a:lnTo>
                <a:lnTo>
                  <a:pt x="164592" y="157480"/>
                </a:lnTo>
                <a:lnTo>
                  <a:pt x="167639" y="157480"/>
                </a:lnTo>
                <a:lnTo>
                  <a:pt x="167639" y="168910"/>
                </a:lnTo>
                <a:lnTo>
                  <a:pt x="164592" y="168910"/>
                </a:lnTo>
                <a:lnTo>
                  <a:pt x="167639" y="172720"/>
                </a:lnTo>
                <a:lnTo>
                  <a:pt x="187451" y="172720"/>
                </a:lnTo>
                <a:lnTo>
                  <a:pt x="187451" y="175895"/>
                </a:lnTo>
                <a:lnTo>
                  <a:pt x="185928" y="176530"/>
                </a:lnTo>
                <a:lnTo>
                  <a:pt x="187451" y="176530"/>
                </a:lnTo>
                <a:lnTo>
                  <a:pt x="187451" y="177800"/>
                </a:lnTo>
                <a:close/>
              </a:path>
              <a:path w="297179" h="252730">
                <a:moveTo>
                  <a:pt x="187451" y="177800"/>
                </a:moveTo>
                <a:lnTo>
                  <a:pt x="187451" y="175895"/>
                </a:lnTo>
                <a:lnTo>
                  <a:pt x="188975" y="175260"/>
                </a:lnTo>
                <a:lnTo>
                  <a:pt x="188976" y="152400"/>
                </a:lnTo>
                <a:lnTo>
                  <a:pt x="187451" y="151129"/>
                </a:lnTo>
                <a:lnTo>
                  <a:pt x="187451" y="148590"/>
                </a:lnTo>
                <a:lnTo>
                  <a:pt x="192023" y="152400"/>
                </a:lnTo>
                <a:lnTo>
                  <a:pt x="196596" y="152400"/>
                </a:lnTo>
                <a:lnTo>
                  <a:pt x="196596" y="172720"/>
                </a:lnTo>
                <a:lnTo>
                  <a:pt x="192023" y="172720"/>
                </a:lnTo>
                <a:lnTo>
                  <a:pt x="187451" y="177800"/>
                </a:lnTo>
                <a:close/>
              </a:path>
              <a:path w="297179" h="252730">
                <a:moveTo>
                  <a:pt x="196596" y="152400"/>
                </a:moveTo>
                <a:lnTo>
                  <a:pt x="192023" y="152400"/>
                </a:lnTo>
                <a:lnTo>
                  <a:pt x="187451" y="148590"/>
                </a:lnTo>
                <a:lnTo>
                  <a:pt x="196596" y="148590"/>
                </a:lnTo>
                <a:lnTo>
                  <a:pt x="196596" y="152400"/>
                </a:lnTo>
                <a:close/>
              </a:path>
              <a:path w="297179" h="252730">
                <a:moveTo>
                  <a:pt x="211835" y="152400"/>
                </a:moveTo>
                <a:lnTo>
                  <a:pt x="208787" y="152400"/>
                </a:lnTo>
                <a:lnTo>
                  <a:pt x="213360" y="148590"/>
                </a:lnTo>
                <a:lnTo>
                  <a:pt x="213360" y="149860"/>
                </a:lnTo>
                <a:lnTo>
                  <a:pt x="211835" y="152400"/>
                </a:lnTo>
                <a:close/>
              </a:path>
              <a:path w="297179" h="252730">
                <a:moveTo>
                  <a:pt x="239267" y="177800"/>
                </a:moveTo>
                <a:lnTo>
                  <a:pt x="213360" y="177800"/>
                </a:lnTo>
                <a:lnTo>
                  <a:pt x="213360" y="148590"/>
                </a:lnTo>
                <a:lnTo>
                  <a:pt x="239267" y="148590"/>
                </a:lnTo>
                <a:lnTo>
                  <a:pt x="239267" y="153670"/>
                </a:lnTo>
                <a:lnTo>
                  <a:pt x="219455" y="153670"/>
                </a:lnTo>
                <a:lnTo>
                  <a:pt x="214883" y="157480"/>
                </a:lnTo>
                <a:lnTo>
                  <a:pt x="219455" y="157480"/>
                </a:lnTo>
                <a:lnTo>
                  <a:pt x="219455" y="168910"/>
                </a:lnTo>
                <a:lnTo>
                  <a:pt x="214883" y="168910"/>
                </a:lnTo>
                <a:lnTo>
                  <a:pt x="219455" y="172720"/>
                </a:lnTo>
                <a:lnTo>
                  <a:pt x="239267" y="172720"/>
                </a:lnTo>
                <a:lnTo>
                  <a:pt x="239267" y="177800"/>
                </a:lnTo>
                <a:close/>
              </a:path>
              <a:path w="297179" h="252730">
                <a:moveTo>
                  <a:pt x="239267" y="177800"/>
                </a:moveTo>
                <a:lnTo>
                  <a:pt x="239267" y="176530"/>
                </a:lnTo>
                <a:lnTo>
                  <a:pt x="240791" y="175260"/>
                </a:lnTo>
                <a:lnTo>
                  <a:pt x="240792" y="152400"/>
                </a:lnTo>
                <a:lnTo>
                  <a:pt x="239267" y="149860"/>
                </a:lnTo>
                <a:lnTo>
                  <a:pt x="239267" y="148590"/>
                </a:lnTo>
                <a:lnTo>
                  <a:pt x="243839" y="152400"/>
                </a:lnTo>
                <a:lnTo>
                  <a:pt x="246887" y="152400"/>
                </a:lnTo>
                <a:lnTo>
                  <a:pt x="246887" y="172720"/>
                </a:lnTo>
                <a:lnTo>
                  <a:pt x="243839" y="172720"/>
                </a:lnTo>
                <a:lnTo>
                  <a:pt x="239267" y="177800"/>
                </a:lnTo>
                <a:close/>
              </a:path>
              <a:path w="297179" h="252730">
                <a:moveTo>
                  <a:pt x="246887" y="152400"/>
                </a:moveTo>
                <a:lnTo>
                  <a:pt x="243839" y="152400"/>
                </a:lnTo>
                <a:lnTo>
                  <a:pt x="239267" y="148590"/>
                </a:lnTo>
                <a:lnTo>
                  <a:pt x="246887" y="148590"/>
                </a:lnTo>
                <a:lnTo>
                  <a:pt x="246887" y="152400"/>
                </a:lnTo>
                <a:close/>
              </a:path>
              <a:path w="297179" h="252730">
                <a:moveTo>
                  <a:pt x="57912" y="176530"/>
                </a:moveTo>
                <a:lnTo>
                  <a:pt x="56388" y="175260"/>
                </a:lnTo>
                <a:lnTo>
                  <a:pt x="56387" y="152400"/>
                </a:lnTo>
                <a:lnTo>
                  <a:pt x="57912" y="149860"/>
                </a:lnTo>
                <a:lnTo>
                  <a:pt x="57912" y="176530"/>
                </a:lnTo>
                <a:close/>
              </a:path>
              <a:path w="297179" h="252730">
                <a:moveTo>
                  <a:pt x="83819" y="176530"/>
                </a:moveTo>
                <a:lnTo>
                  <a:pt x="83819" y="149860"/>
                </a:lnTo>
                <a:lnTo>
                  <a:pt x="85344" y="152400"/>
                </a:lnTo>
                <a:lnTo>
                  <a:pt x="85343" y="175260"/>
                </a:lnTo>
                <a:lnTo>
                  <a:pt x="83819" y="176530"/>
                </a:lnTo>
                <a:close/>
              </a:path>
              <a:path w="297179" h="252730">
                <a:moveTo>
                  <a:pt x="135635" y="176530"/>
                </a:moveTo>
                <a:lnTo>
                  <a:pt x="109728" y="176530"/>
                </a:lnTo>
                <a:lnTo>
                  <a:pt x="108204" y="175260"/>
                </a:lnTo>
                <a:lnTo>
                  <a:pt x="108203" y="152400"/>
                </a:lnTo>
                <a:lnTo>
                  <a:pt x="109728" y="149860"/>
                </a:lnTo>
                <a:lnTo>
                  <a:pt x="135635" y="149860"/>
                </a:lnTo>
                <a:lnTo>
                  <a:pt x="135635" y="153670"/>
                </a:lnTo>
                <a:lnTo>
                  <a:pt x="115823" y="153670"/>
                </a:lnTo>
                <a:lnTo>
                  <a:pt x="112776" y="157480"/>
                </a:lnTo>
                <a:lnTo>
                  <a:pt x="115823" y="157480"/>
                </a:lnTo>
                <a:lnTo>
                  <a:pt x="115823" y="168910"/>
                </a:lnTo>
                <a:lnTo>
                  <a:pt x="112776" y="168910"/>
                </a:lnTo>
                <a:lnTo>
                  <a:pt x="115823" y="172720"/>
                </a:lnTo>
                <a:lnTo>
                  <a:pt x="135635" y="172720"/>
                </a:lnTo>
                <a:lnTo>
                  <a:pt x="135635" y="176530"/>
                </a:lnTo>
                <a:close/>
              </a:path>
              <a:path w="297179" h="252730">
                <a:moveTo>
                  <a:pt x="135635" y="176530"/>
                </a:moveTo>
                <a:lnTo>
                  <a:pt x="135635" y="149860"/>
                </a:lnTo>
                <a:lnTo>
                  <a:pt x="137160" y="152400"/>
                </a:lnTo>
                <a:lnTo>
                  <a:pt x="137159" y="175260"/>
                </a:lnTo>
                <a:lnTo>
                  <a:pt x="135635" y="176530"/>
                </a:lnTo>
                <a:close/>
              </a:path>
              <a:path w="297179" h="252730">
                <a:moveTo>
                  <a:pt x="161544" y="176530"/>
                </a:moveTo>
                <a:lnTo>
                  <a:pt x="160020" y="175260"/>
                </a:lnTo>
                <a:lnTo>
                  <a:pt x="160019" y="152400"/>
                </a:lnTo>
                <a:lnTo>
                  <a:pt x="161544" y="149860"/>
                </a:lnTo>
                <a:lnTo>
                  <a:pt x="161544" y="176530"/>
                </a:lnTo>
                <a:close/>
              </a:path>
              <a:path w="297179" h="252730">
                <a:moveTo>
                  <a:pt x="187451" y="151129"/>
                </a:moveTo>
                <a:lnTo>
                  <a:pt x="185928" y="149860"/>
                </a:lnTo>
                <a:lnTo>
                  <a:pt x="187451" y="149860"/>
                </a:lnTo>
                <a:lnTo>
                  <a:pt x="187451" y="151129"/>
                </a:lnTo>
                <a:close/>
              </a:path>
              <a:path w="297179" h="252730">
                <a:moveTo>
                  <a:pt x="213360" y="176530"/>
                </a:moveTo>
                <a:lnTo>
                  <a:pt x="211836" y="175260"/>
                </a:lnTo>
                <a:lnTo>
                  <a:pt x="211835" y="152400"/>
                </a:lnTo>
                <a:lnTo>
                  <a:pt x="213360" y="149860"/>
                </a:lnTo>
                <a:lnTo>
                  <a:pt x="213360" y="176530"/>
                </a:lnTo>
                <a:close/>
              </a:path>
              <a:path w="297179" h="252730">
                <a:moveTo>
                  <a:pt x="239267" y="176530"/>
                </a:moveTo>
                <a:lnTo>
                  <a:pt x="239267" y="149860"/>
                </a:lnTo>
                <a:lnTo>
                  <a:pt x="240792" y="152400"/>
                </a:lnTo>
                <a:lnTo>
                  <a:pt x="240791" y="175260"/>
                </a:lnTo>
                <a:lnTo>
                  <a:pt x="239267" y="176530"/>
                </a:lnTo>
                <a:close/>
              </a:path>
              <a:path w="297179" h="252730">
                <a:moveTo>
                  <a:pt x="187451" y="175895"/>
                </a:moveTo>
                <a:lnTo>
                  <a:pt x="187451" y="151129"/>
                </a:lnTo>
                <a:lnTo>
                  <a:pt x="188976" y="152400"/>
                </a:lnTo>
                <a:lnTo>
                  <a:pt x="188975" y="175260"/>
                </a:lnTo>
                <a:lnTo>
                  <a:pt x="187451" y="175895"/>
                </a:lnTo>
                <a:close/>
              </a:path>
              <a:path w="297179" h="252730">
                <a:moveTo>
                  <a:pt x="64007" y="157480"/>
                </a:moveTo>
                <a:lnTo>
                  <a:pt x="59435" y="157480"/>
                </a:lnTo>
                <a:lnTo>
                  <a:pt x="64007" y="153670"/>
                </a:lnTo>
                <a:lnTo>
                  <a:pt x="64007" y="157480"/>
                </a:lnTo>
                <a:close/>
              </a:path>
              <a:path w="297179" h="252730">
                <a:moveTo>
                  <a:pt x="77723" y="157480"/>
                </a:moveTo>
                <a:lnTo>
                  <a:pt x="64007" y="157480"/>
                </a:lnTo>
                <a:lnTo>
                  <a:pt x="64007" y="153670"/>
                </a:lnTo>
                <a:lnTo>
                  <a:pt x="77723" y="153670"/>
                </a:lnTo>
                <a:lnTo>
                  <a:pt x="77723" y="157480"/>
                </a:lnTo>
                <a:close/>
              </a:path>
              <a:path w="297179" h="252730">
                <a:moveTo>
                  <a:pt x="77723" y="172720"/>
                </a:moveTo>
                <a:lnTo>
                  <a:pt x="77723" y="153670"/>
                </a:lnTo>
                <a:lnTo>
                  <a:pt x="82296" y="157480"/>
                </a:lnTo>
                <a:lnTo>
                  <a:pt x="83819" y="157480"/>
                </a:lnTo>
                <a:lnTo>
                  <a:pt x="83819" y="168910"/>
                </a:lnTo>
                <a:lnTo>
                  <a:pt x="82296" y="168910"/>
                </a:lnTo>
                <a:lnTo>
                  <a:pt x="77723" y="172720"/>
                </a:lnTo>
                <a:close/>
              </a:path>
              <a:path w="297179" h="252730">
                <a:moveTo>
                  <a:pt x="83819" y="157480"/>
                </a:moveTo>
                <a:lnTo>
                  <a:pt x="82296" y="157480"/>
                </a:lnTo>
                <a:lnTo>
                  <a:pt x="77723" y="153670"/>
                </a:lnTo>
                <a:lnTo>
                  <a:pt x="83819" y="153670"/>
                </a:lnTo>
                <a:lnTo>
                  <a:pt x="83819" y="157480"/>
                </a:lnTo>
                <a:close/>
              </a:path>
              <a:path w="297179" h="252730">
                <a:moveTo>
                  <a:pt x="115823" y="157480"/>
                </a:moveTo>
                <a:lnTo>
                  <a:pt x="112776" y="157480"/>
                </a:lnTo>
                <a:lnTo>
                  <a:pt x="115823" y="153670"/>
                </a:lnTo>
                <a:lnTo>
                  <a:pt x="115823" y="157480"/>
                </a:lnTo>
                <a:close/>
              </a:path>
              <a:path w="297179" h="252730">
                <a:moveTo>
                  <a:pt x="129539" y="157480"/>
                </a:moveTo>
                <a:lnTo>
                  <a:pt x="115823" y="157480"/>
                </a:lnTo>
                <a:lnTo>
                  <a:pt x="115823" y="153670"/>
                </a:lnTo>
                <a:lnTo>
                  <a:pt x="129539" y="153670"/>
                </a:lnTo>
                <a:lnTo>
                  <a:pt x="129539" y="157480"/>
                </a:lnTo>
                <a:close/>
              </a:path>
              <a:path w="297179" h="252730">
                <a:moveTo>
                  <a:pt x="129539" y="172720"/>
                </a:moveTo>
                <a:lnTo>
                  <a:pt x="129539" y="153670"/>
                </a:lnTo>
                <a:lnTo>
                  <a:pt x="132587" y="157480"/>
                </a:lnTo>
                <a:lnTo>
                  <a:pt x="135635" y="157480"/>
                </a:lnTo>
                <a:lnTo>
                  <a:pt x="135635" y="168910"/>
                </a:lnTo>
                <a:lnTo>
                  <a:pt x="132587" y="168910"/>
                </a:lnTo>
                <a:lnTo>
                  <a:pt x="129539" y="172720"/>
                </a:lnTo>
                <a:close/>
              </a:path>
              <a:path w="297179" h="252730">
                <a:moveTo>
                  <a:pt x="135635" y="157480"/>
                </a:moveTo>
                <a:lnTo>
                  <a:pt x="132587" y="157480"/>
                </a:lnTo>
                <a:lnTo>
                  <a:pt x="129539" y="153670"/>
                </a:lnTo>
                <a:lnTo>
                  <a:pt x="135635" y="153670"/>
                </a:lnTo>
                <a:lnTo>
                  <a:pt x="135635" y="157480"/>
                </a:lnTo>
                <a:close/>
              </a:path>
              <a:path w="297179" h="252730">
                <a:moveTo>
                  <a:pt x="167639" y="157480"/>
                </a:moveTo>
                <a:lnTo>
                  <a:pt x="164592" y="157480"/>
                </a:lnTo>
                <a:lnTo>
                  <a:pt x="167639" y="153670"/>
                </a:lnTo>
                <a:lnTo>
                  <a:pt x="167639" y="157480"/>
                </a:lnTo>
                <a:close/>
              </a:path>
              <a:path w="297179" h="252730">
                <a:moveTo>
                  <a:pt x="179832" y="157480"/>
                </a:moveTo>
                <a:lnTo>
                  <a:pt x="167639" y="157480"/>
                </a:lnTo>
                <a:lnTo>
                  <a:pt x="167639" y="153670"/>
                </a:lnTo>
                <a:lnTo>
                  <a:pt x="179832" y="153670"/>
                </a:lnTo>
                <a:lnTo>
                  <a:pt x="179832" y="157480"/>
                </a:lnTo>
                <a:close/>
              </a:path>
              <a:path w="297179" h="252730">
                <a:moveTo>
                  <a:pt x="179832" y="172720"/>
                </a:moveTo>
                <a:lnTo>
                  <a:pt x="179832" y="153670"/>
                </a:lnTo>
                <a:lnTo>
                  <a:pt x="184403" y="157480"/>
                </a:lnTo>
                <a:lnTo>
                  <a:pt x="187451" y="157480"/>
                </a:lnTo>
                <a:lnTo>
                  <a:pt x="187451" y="168910"/>
                </a:lnTo>
                <a:lnTo>
                  <a:pt x="184403" y="168910"/>
                </a:lnTo>
                <a:lnTo>
                  <a:pt x="179832" y="172720"/>
                </a:lnTo>
                <a:close/>
              </a:path>
              <a:path w="297179" h="252730">
                <a:moveTo>
                  <a:pt x="187451" y="157480"/>
                </a:moveTo>
                <a:lnTo>
                  <a:pt x="184403" y="157480"/>
                </a:lnTo>
                <a:lnTo>
                  <a:pt x="179832" y="153670"/>
                </a:lnTo>
                <a:lnTo>
                  <a:pt x="187451" y="153670"/>
                </a:lnTo>
                <a:lnTo>
                  <a:pt x="187451" y="157480"/>
                </a:lnTo>
                <a:close/>
              </a:path>
              <a:path w="297179" h="252730">
                <a:moveTo>
                  <a:pt x="219455" y="157480"/>
                </a:moveTo>
                <a:lnTo>
                  <a:pt x="214883" y="157480"/>
                </a:lnTo>
                <a:lnTo>
                  <a:pt x="219455" y="153670"/>
                </a:lnTo>
                <a:lnTo>
                  <a:pt x="219455" y="157480"/>
                </a:lnTo>
                <a:close/>
              </a:path>
              <a:path w="297179" h="252730">
                <a:moveTo>
                  <a:pt x="233171" y="157480"/>
                </a:moveTo>
                <a:lnTo>
                  <a:pt x="219455" y="157480"/>
                </a:lnTo>
                <a:lnTo>
                  <a:pt x="219455" y="153670"/>
                </a:lnTo>
                <a:lnTo>
                  <a:pt x="233171" y="153670"/>
                </a:lnTo>
                <a:lnTo>
                  <a:pt x="233171" y="157480"/>
                </a:lnTo>
                <a:close/>
              </a:path>
              <a:path w="297179" h="252730">
                <a:moveTo>
                  <a:pt x="233171" y="172720"/>
                </a:moveTo>
                <a:lnTo>
                  <a:pt x="233171" y="153670"/>
                </a:lnTo>
                <a:lnTo>
                  <a:pt x="237744" y="157480"/>
                </a:lnTo>
                <a:lnTo>
                  <a:pt x="239267" y="157480"/>
                </a:lnTo>
                <a:lnTo>
                  <a:pt x="239267" y="168910"/>
                </a:lnTo>
                <a:lnTo>
                  <a:pt x="237744" y="168910"/>
                </a:lnTo>
                <a:lnTo>
                  <a:pt x="233171" y="172720"/>
                </a:lnTo>
                <a:close/>
              </a:path>
              <a:path w="297179" h="252730">
                <a:moveTo>
                  <a:pt x="239267" y="157480"/>
                </a:moveTo>
                <a:lnTo>
                  <a:pt x="237744" y="157480"/>
                </a:lnTo>
                <a:lnTo>
                  <a:pt x="233171" y="153670"/>
                </a:lnTo>
                <a:lnTo>
                  <a:pt x="239267" y="153670"/>
                </a:lnTo>
                <a:lnTo>
                  <a:pt x="239267" y="157480"/>
                </a:lnTo>
                <a:close/>
              </a:path>
              <a:path w="297179" h="252730">
                <a:moveTo>
                  <a:pt x="64007" y="172720"/>
                </a:moveTo>
                <a:lnTo>
                  <a:pt x="59435" y="168910"/>
                </a:lnTo>
                <a:lnTo>
                  <a:pt x="64007" y="168910"/>
                </a:lnTo>
                <a:lnTo>
                  <a:pt x="64007" y="172720"/>
                </a:lnTo>
                <a:close/>
              </a:path>
              <a:path w="297179" h="252730">
                <a:moveTo>
                  <a:pt x="77723" y="172720"/>
                </a:moveTo>
                <a:lnTo>
                  <a:pt x="64007" y="172720"/>
                </a:lnTo>
                <a:lnTo>
                  <a:pt x="64007" y="168910"/>
                </a:lnTo>
                <a:lnTo>
                  <a:pt x="77723" y="168910"/>
                </a:lnTo>
                <a:lnTo>
                  <a:pt x="77723" y="172720"/>
                </a:lnTo>
                <a:close/>
              </a:path>
              <a:path w="297179" h="252730">
                <a:moveTo>
                  <a:pt x="83819" y="172720"/>
                </a:moveTo>
                <a:lnTo>
                  <a:pt x="77723" y="172720"/>
                </a:lnTo>
                <a:lnTo>
                  <a:pt x="82296" y="168910"/>
                </a:lnTo>
                <a:lnTo>
                  <a:pt x="83819" y="168910"/>
                </a:lnTo>
                <a:lnTo>
                  <a:pt x="83819" y="172720"/>
                </a:lnTo>
                <a:close/>
              </a:path>
              <a:path w="297179" h="252730">
                <a:moveTo>
                  <a:pt x="115823" y="172720"/>
                </a:moveTo>
                <a:lnTo>
                  <a:pt x="112776" y="168910"/>
                </a:lnTo>
                <a:lnTo>
                  <a:pt x="115823" y="168910"/>
                </a:lnTo>
                <a:lnTo>
                  <a:pt x="115823" y="172720"/>
                </a:lnTo>
                <a:close/>
              </a:path>
              <a:path w="297179" h="252730">
                <a:moveTo>
                  <a:pt x="129539" y="172720"/>
                </a:moveTo>
                <a:lnTo>
                  <a:pt x="115823" y="172720"/>
                </a:lnTo>
                <a:lnTo>
                  <a:pt x="115823" y="168910"/>
                </a:lnTo>
                <a:lnTo>
                  <a:pt x="129539" y="168910"/>
                </a:lnTo>
                <a:lnTo>
                  <a:pt x="129539" y="172720"/>
                </a:lnTo>
                <a:close/>
              </a:path>
              <a:path w="297179" h="252730">
                <a:moveTo>
                  <a:pt x="135635" y="172720"/>
                </a:moveTo>
                <a:lnTo>
                  <a:pt x="129539" y="172720"/>
                </a:lnTo>
                <a:lnTo>
                  <a:pt x="132587" y="168910"/>
                </a:lnTo>
                <a:lnTo>
                  <a:pt x="135635" y="168910"/>
                </a:lnTo>
                <a:lnTo>
                  <a:pt x="135635" y="172720"/>
                </a:lnTo>
                <a:close/>
              </a:path>
              <a:path w="297179" h="252730">
                <a:moveTo>
                  <a:pt x="167639" y="172720"/>
                </a:moveTo>
                <a:lnTo>
                  <a:pt x="164592" y="168910"/>
                </a:lnTo>
                <a:lnTo>
                  <a:pt x="167639" y="168910"/>
                </a:lnTo>
                <a:lnTo>
                  <a:pt x="167639" y="172720"/>
                </a:lnTo>
                <a:close/>
              </a:path>
              <a:path w="297179" h="252730">
                <a:moveTo>
                  <a:pt x="179832" y="172720"/>
                </a:moveTo>
                <a:lnTo>
                  <a:pt x="167639" y="172720"/>
                </a:lnTo>
                <a:lnTo>
                  <a:pt x="167639" y="168910"/>
                </a:lnTo>
                <a:lnTo>
                  <a:pt x="179832" y="168910"/>
                </a:lnTo>
                <a:lnTo>
                  <a:pt x="179832" y="172720"/>
                </a:lnTo>
                <a:close/>
              </a:path>
              <a:path w="297179" h="252730">
                <a:moveTo>
                  <a:pt x="187451" y="172720"/>
                </a:moveTo>
                <a:lnTo>
                  <a:pt x="179832" y="172720"/>
                </a:lnTo>
                <a:lnTo>
                  <a:pt x="184403" y="168910"/>
                </a:lnTo>
                <a:lnTo>
                  <a:pt x="187451" y="168910"/>
                </a:lnTo>
                <a:lnTo>
                  <a:pt x="187451" y="172720"/>
                </a:lnTo>
                <a:close/>
              </a:path>
              <a:path w="297179" h="252730">
                <a:moveTo>
                  <a:pt x="219455" y="172720"/>
                </a:moveTo>
                <a:lnTo>
                  <a:pt x="214883" y="168910"/>
                </a:lnTo>
                <a:lnTo>
                  <a:pt x="219455" y="168910"/>
                </a:lnTo>
                <a:lnTo>
                  <a:pt x="219455" y="172720"/>
                </a:lnTo>
                <a:close/>
              </a:path>
              <a:path w="297179" h="252730">
                <a:moveTo>
                  <a:pt x="233171" y="172720"/>
                </a:moveTo>
                <a:lnTo>
                  <a:pt x="219455" y="172720"/>
                </a:lnTo>
                <a:lnTo>
                  <a:pt x="219455" y="168910"/>
                </a:lnTo>
                <a:lnTo>
                  <a:pt x="233171" y="168910"/>
                </a:lnTo>
                <a:lnTo>
                  <a:pt x="233171" y="172720"/>
                </a:lnTo>
                <a:close/>
              </a:path>
              <a:path w="297179" h="252730">
                <a:moveTo>
                  <a:pt x="239267" y="172720"/>
                </a:moveTo>
                <a:lnTo>
                  <a:pt x="233171" y="172720"/>
                </a:lnTo>
                <a:lnTo>
                  <a:pt x="237744" y="168910"/>
                </a:lnTo>
                <a:lnTo>
                  <a:pt x="239267" y="168910"/>
                </a:lnTo>
                <a:lnTo>
                  <a:pt x="239267" y="172720"/>
                </a:lnTo>
                <a:close/>
              </a:path>
              <a:path w="297179" h="252730">
                <a:moveTo>
                  <a:pt x="57912" y="177800"/>
                </a:moveTo>
                <a:lnTo>
                  <a:pt x="53339" y="172720"/>
                </a:lnTo>
                <a:lnTo>
                  <a:pt x="56387" y="172720"/>
                </a:lnTo>
                <a:lnTo>
                  <a:pt x="56388" y="175260"/>
                </a:lnTo>
                <a:lnTo>
                  <a:pt x="57912" y="176530"/>
                </a:lnTo>
                <a:lnTo>
                  <a:pt x="57912" y="177800"/>
                </a:lnTo>
                <a:close/>
              </a:path>
              <a:path w="297179" h="252730">
                <a:moveTo>
                  <a:pt x="91439" y="177800"/>
                </a:moveTo>
                <a:lnTo>
                  <a:pt x="83819" y="177800"/>
                </a:lnTo>
                <a:lnTo>
                  <a:pt x="88392" y="172720"/>
                </a:lnTo>
                <a:lnTo>
                  <a:pt x="91439" y="172720"/>
                </a:lnTo>
                <a:lnTo>
                  <a:pt x="91439" y="177800"/>
                </a:lnTo>
                <a:close/>
              </a:path>
              <a:path w="297179" h="252730">
                <a:moveTo>
                  <a:pt x="108203" y="177800"/>
                </a:moveTo>
                <a:lnTo>
                  <a:pt x="105155" y="172720"/>
                </a:lnTo>
                <a:lnTo>
                  <a:pt x="108203" y="172720"/>
                </a:lnTo>
                <a:lnTo>
                  <a:pt x="108203" y="177800"/>
                </a:lnTo>
                <a:close/>
              </a:path>
              <a:path w="297179" h="252730">
                <a:moveTo>
                  <a:pt x="143255" y="177800"/>
                </a:moveTo>
                <a:lnTo>
                  <a:pt x="135635" y="177800"/>
                </a:lnTo>
                <a:lnTo>
                  <a:pt x="138683" y="172720"/>
                </a:lnTo>
                <a:lnTo>
                  <a:pt x="143255" y="172720"/>
                </a:lnTo>
                <a:lnTo>
                  <a:pt x="143255" y="177800"/>
                </a:lnTo>
                <a:close/>
              </a:path>
              <a:path w="297179" h="252730">
                <a:moveTo>
                  <a:pt x="161544" y="177800"/>
                </a:moveTo>
                <a:lnTo>
                  <a:pt x="156971" y="172720"/>
                </a:lnTo>
                <a:lnTo>
                  <a:pt x="160019" y="172720"/>
                </a:lnTo>
                <a:lnTo>
                  <a:pt x="160020" y="175260"/>
                </a:lnTo>
                <a:lnTo>
                  <a:pt x="161544" y="176530"/>
                </a:lnTo>
                <a:lnTo>
                  <a:pt x="161544" y="177800"/>
                </a:lnTo>
                <a:close/>
              </a:path>
              <a:path w="297179" h="252730">
                <a:moveTo>
                  <a:pt x="196596" y="177800"/>
                </a:moveTo>
                <a:lnTo>
                  <a:pt x="187451" y="177800"/>
                </a:lnTo>
                <a:lnTo>
                  <a:pt x="192023" y="172720"/>
                </a:lnTo>
                <a:lnTo>
                  <a:pt x="196596" y="172720"/>
                </a:lnTo>
                <a:lnTo>
                  <a:pt x="196596" y="177800"/>
                </a:lnTo>
                <a:close/>
              </a:path>
              <a:path w="297179" h="252730">
                <a:moveTo>
                  <a:pt x="213360" y="177800"/>
                </a:moveTo>
                <a:lnTo>
                  <a:pt x="208787" y="172720"/>
                </a:lnTo>
                <a:lnTo>
                  <a:pt x="211835" y="172720"/>
                </a:lnTo>
                <a:lnTo>
                  <a:pt x="211836" y="175260"/>
                </a:lnTo>
                <a:lnTo>
                  <a:pt x="213360" y="176530"/>
                </a:lnTo>
                <a:lnTo>
                  <a:pt x="213360" y="177800"/>
                </a:lnTo>
                <a:close/>
              </a:path>
              <a:path w="297179" h="252730">
                <a:moveTo>
                  <a:pt x="246887" y="177800"/>
                </a:moveTo>
                <a:lnTo>
                  <a:pt x="239267" y="177800"/>
                </a:lnTo>
                <a:lnTo>
                  <a:pt x="243839" y="172720"/>
                </a:lnTo>
                <a:lnTo>
                  <a:pt x="246887" y="172720"/>
                </a:lnTo>
                <a:lnTo>
                  <a:pt x="246887" y="177800"/>
                </a:lnTo>
                <a:close/>
              </a:path>
              <a:path w="297179" h="252730">
                <a:moveTo>
                  <a:pt x="135635" y="177800"/>
                </a:moveTo>
                <a:lnTo>
                  <a:pt x="108203" y="177800"/>
                </a:lnTo>
                <a:lnTo>
                  <a:pt x="108203" y="175260"/>
                </a:lnTo>
                <a:lnTo>
                  <a:pt x="109728" y="176530"/>
                </a:lnTo>
                <a:lnTo>
                  <a:pt x="135635" y="176530"/>
                </a:lnTo>
                <a:lnTo>
                  <a:pt x="135635" y="177800"/>
                </a:lnTo>
                <a:close/>
              </a:path>
              <a:path w="297179" h="252730">
                <a:moveTo>
                  <a:pt x="135635" y="177800"/>
                </a:moveTo>
                <a:lnTo>
                  <a:pt x="135635" y="176530"/>
                </a:lnTo>
                <a:lnTo>
                  <a:pt x="137159" y="175260"/>
                </a:lnTo>
                <a:lnTo>
                  <a:pt x="135635" y="177800"/>
                </a:lnTo>
                <a:close/>
              </a:path>
              <a:path w="297179" h="252730">
                <a:moveTo>
                  <a:pt x="187451" y="176530"/>
                </a:moveTo>
                <a:lnTo>
                  <a:pt x="185928" y="176530"/>
                </a:lnTo>
                <a:lnTo>
                  <a:pt x="187451" y="175895"/>
                </a:lnTo>
                <a:lnTo>
                  <a:pt x="187451" y="176530"/>
                </a:lnTo>
                <a:close/>
              </a:path>
              <a:path w="297179" h="252730">
                <a:moveTo>
                  <a:pt x="89916" y="222250"/>
                </a:moveTo>
                <a:lnTo>
                  <a:pt x="51816" y="222250"/>
                </a:lnTo>
                <a:lnTo>
                  <a:pt x="48767" y="218440"/>
                </a:lnTo>
                <a:lnTo>
                  <a:pt x="48767" y="186690"/>
                </a:lnTo>
                <a:lnTo>
                  <a:pt x="51816" y="184150"/>
                </a:lnTo>
                <a:lnTo>
                  <a:pt x="89916" y="184150"/>
                </a:lnTo>
                <a:lnTo>
                  <a:pt x="91439" y="186690"/>
                </a:lnTo>
                <a:lnTo>
                  <a:pt x="91439" y="187960"/>
                </a:lnTo>
                <a:lnTo>
                  <a:pt x="57912" y="187960"/>
                </a:lnTo>
                <a:lnTo>
                  <a:pt x="53339" y="193040"/>
                </a:lnTo>
                <a:lnTo>
                  <a:pt x="56387" y="193040"/>
                </a:lnTo>
                <a:lnTo>
                  <a:pt x="56387" y="213360"/>
                </a:lnTo>
                <a:lnTo>
                  <a:pt x="53339" y="213360"/>
                </a:lnTo>
                <a:lnTo>
                  <a:pt x="57912" y="217170"/>
                </a:lnTo>
                <a:lnTo>
                  <a:pt x="91439" y="217170"/>
                </a:lnTo>
                <a:lnTo>
                  <a:pt x="91439" y="218440"/>
                </a:lnTo>
                <a:lnTo>
                  <a:pt x="89916" y="222250"/>
                </a:lnTo>
                <a:close/>
              </a:path>
              <a:path w="297179" h="252730">
                <a:moveTo>
                  <a:pt x="179832" y="232410"/>
                </a:moveTo>
                <a:lnTo>
                  <a:pt x="117348" y="232410"/>
                </a:lnTo>
                <a:lnTo>
                  <a:pt x="115823" y="231140"/>
                </a:lnTo>
                <a:lnTo>
                  <a:pt x="115823" y="186690"/>
                </a:lnTo>
                <a:lnTo>
                  <a:pt x="117348" y="184150"/>
                </a:lnTo>
                <a:lnTo>
                  <a:pt x="179832" y="184150"/>
                </a:lnTo>
                <a:lnTo>
                  <a:pt x="181355" y="186690"/>
                </a:lnTo>
                <a:lnTo>
                  <a:pt x="181355" y="187960"/>
                </a:lnTo>
                <a:lnTo>
                  <a:pt x="123444" y="187960"/>
                </a:lnTo>
                <a:lnTo>
                  <a:pt x="118871" y="193040"/>
                </a:lnTo>
                <a:lnTo>
                  <a:pt x="121919" y="193040"/>
                </a:lnTo>
                <a:lnTo>
                  <a:pt x="121919" y="224790"/>
                </a:lnTo>
                <a:lnTo>
                  <a:pt x="118871" y="224790"/>
                </a:lnTo>
                <a:lnTo>
                  <a:pt x="123444" y="229870"/>
                </a:lnTo>
                <a:lnTo>
                  <a:pt x="181355" y="229870"/>
                </a:lnTo>
                <a:lnTo>
                  <a:pt x="181355" y="231140"/>
                </a:lnTo>
                <a:lnTo>
                  <a:pt x="179832" y="232410"/>
                </a:lnTo>
                <a:close/>
              </a:path>
              <a:path w="297179" h="252730">
                <a:moveTo>
                  <a:pt x="245364" y="222250"/>
                </a:moveTo>
                <a:lnTo>
                  <a:pt x="207264" y="222250"/>
                </a:lnTo>
                <a:lnTo>
                  <a:pt x="205739" y="218440"/>
                </a:lnTo>
                <a:lnTo>
                  <a:pt x="205739" y="186690"/>
                </a:lnTo>
                <a:lnTo>
                  <a:pt x="207264" y="184150"/>
                </a:lnTo>
                <a:lnTo>
                  <a:pt x="245364" y="184150"/>
                </a:lnTo>
                <a:lnTo>
                  <a:pt x="246887" y="186690"/>
                </a:lnTo>
                <a:lnTo>
                  <a:pt x="246887" y="187960"/>
                </a:lnTo>
                <a:lnTo>
                  <a:pt x="213360" y="187960"/>
                </a:lnTo>
                <a:lnTo>
                  <a:pt x="208787" y="193040"/>
                </a:lnTo>
                <a:lnTo>
                  <a:pt x="211835" y="193040"/>
                </a:lnTo>
                <a:lnTo>
                  <a:pt x="211835" y="213360"/>
                </a:lnTo>
                <a:lnTo>
                  <a:pt x="208787" y="213360"/>
                </a:lnTo>
                <a:lnTo>
                  <a:pt x="213360" y="217170"/>
                </a:lnTo>
                <a:lnTo>
                  <a:pt x="246887" y="217170"/>
                </a:lnTo>
                <a:lnTo>
                  <a:pt x="246887" y="218440"/>
                </a:lnTo>
                <a:lnTo>
                  <a:pt x="245364" y="222250"/>
                </a:lnTo>
                <a:close/>
              </a:path>
              <a:path w="297179" h="252730">
                <a:moveTo>
                  <a:pt x="56387" y="193040"/>
                </a:moveTo>
                <a:lnTo>
                  <a:pt x="53339" y="193040"/>
                </a:lnTo>
                <a:lnTo>
                  <a:pt x="57912" y="187960"/>
                </a:lnTo>
                <a:lnTo>
                  <a:pt x="57912" y="190500"/>
                </a:lnTo>
                <a:lnTo>
                  <a:pt x="56387" y="191770"/>
                </a:lnTo>
                <a:lnTo>
                  <a:pt x="56387" y="193040"/>
                </a:lnTo>
                <a:close/>
              </a:path>
              <a:path w="297179" h="252730">
                <a:moveTo>
                  <a:pt x="83819" y="217170"/>
                </a:moveTo>
                <a:lnTo>
                  <a:pt x="57912" y="217170"/>
                </a:lnTo>
                <a:lnTo>
                  <a:pt x="57912" y="187960"/>
                </a:lnTo>
                <a:lnTo>
                  <a:pt x="83819" y="187960"/>
                </a:lnTo>
                <a:lnTo>
                  <a:pt x="83819" y="193040"/>
                </a:lnTo>
                <a:lnTo>
                  <a:pt x="64007" y="193040"/>
                </a:lnTo>
                <a:lnTo>
                  <a:pt x="59435" y="198120"/>
                </a:lnTo>
                <a:lnTo>
                  <a:pt x="64007" y="198120"/>
                </a:lnTo>
                <a:lnTo>
                  <a:pt x="64007" y="208280"/>
                </a:lnTo>
                <a:lnTo>
                  <a:pt x="59435" y="208280"/>
                </a:lnTo>
                <a:lnTo>
                  <a:pt x="64007" y="213360"/>
                </a:lnTo>
                <a:lnTo>
                  <a:pt x="83819" y="213360"/>
                </a:lnTo>
                <a:lnTo>
                  <a:pt x="83819" y="217170"/>
                </a:lnTo>
                <a:close/>
              </a:path>
              <a:path w="297179" h="252730">
                <a:moveTo>
                  <a:pt x="83819" y="217170"/>
                </a:moveTo>
                <a:lnTo>
                  <a:pt x="83819" y="215900"/>
                </a:lnTo>
                <a:lnTo>
                  <a:pt x="85344" y="214630"/>
                </a:lnTo>
                <a:lnTo>
                  <a:pt x="85344" y="191770"/>
                </a:lnTo>
                <a:lnTo>
                  <a:pt x="83819" y="190500"/>
                </a:lnTo>
                <a:lnTo>
                  <a:pt x="83819" y="187960"/>
                </a:lnTo>
                <a:lnTo>
                  <a:pt x="88392" y="193040"/>
                </a:lnTo>
                <a:lnTo>
                  <a:pt x="91439" y="193040"/>
                </a:lnTo>
                <a:lnTo>
                  <a:pt x="91439" y="213360"/>
                </a:lnTo>
                <a:lnTo>
                  <a:pt x="88392" y="213360"/>
                </a:lnTo>
                <a:lnTo>
                  <a:pt x="83819" y="217170"/>
                </a:lnTo>
                <a:close/>
              </a:path>
              <a:path w="297179" h="252730">
                <a:moveTo>
                  <a:pt x="91439" y="193040"/>
                </a:moveTo>
                <a:lnTo>
                  <a:pt x="88392" y="193040"/>
                </a:lnTo>
                <a:lnTo>
                  <a:pt x="83819" y="187960"/>
                </a:lnTo>
                <a:lnTo>
                  <a:pt x="91439" y="187960"/>
                </a:lnTo>
                <a:lnTo>
                  <a:pt x="91439" y="193040"/>
                </a:lnTo>
                <a:close/>
              </a:path>
              <a:path w="297179" h="252730">
                <a:moveTo>
                  <a:pt x="121919" y="193040"/>
                </a:moveTo>
                <a:lnTo>
                  <a:pt x="118871" y="193040"/>
                </a:lnTo>
                <a:lnTo>
                  <a:pt x="123444" y="187960"/>
                </a:lnTo>
                <a:lnTo>
                  <a:pt x="123444" y="190500"/>
                </a:lnTo>
                <a:lnTo>
                  <a:pt x="121919" y="191770"/>
                </a:lnTo>
                <a:lnTo>
                  <a:pt x="121919" y="193040"/>
                </a:lnTo>
                <a:close/>
              </a:path>
              <a:path w="297179" h="252730">
                <a:moveTo>
                  <a:pt x="173735" y="229870"/>
                </a:moveTo>
                <a:lnTo>
                  <a:pt x="123444" y="229870"/>
                </a:lnTo>
                <a:lnTo>
                  <a:pt x="123444" y="187960"/>
                </a:lnTo>
                <a:lnTo>
                  <a:pt x="173735" y="187960"/>
                </a:lnTo>
                <a:lnTo>
                  <a:pt x="173735" y="193040"/>
                </a:lnTo>
                <a:lnTo>
                  <a:pt x="129539" y="193040"/>
                </a:lnTo>
                <a:lnTo>
                  <a:pt x="126492" y="198120"/>
                </a:lnTo>
                <a:lnTo>
                  <a:pt x="129539" y="198120"/>
                </a:lnTo>
                <a:lnTo>
                  <a:pt x="129539" y="220980"/>
                </a:lnTo>
                <a:lnTo>
                  <a:pt x="126492" y="220980"/>
                </a:lnTo>
                <a:lnTo>
                  <a:pt x="129539" y="223520"/>
                </a:lnTo>
                <a:lnTo>
                  <a:pt x="173735" y="223520"/>
                </a:lnTo>
                <a:lnTo>
                  <a:pt x="173735" y="229870"/>
                </a:lnTo>
                <a:close/>
              </a:path>
              <a:path w="297179" h="252730">
                <a:moveTo>
                  <a:pt x="173735" y="229870"/>
                </a:moveTo>
                <a:lnTo>
                  <a:pt x="173735" y="228600"/>
                </a:lnTo>
                <a:lnTo>
                  <a:pt x="175260" y="226060"/>
                </a:lnTo>
                <a:lnTo>
                  <a:pt x="175260" y="191770"/>
                </a:lnTo>
                <a:lnTo>
                  <a:pt x="173735" y="190500"/>
                </a:lnTo>
                <a:lnTo>
                  <a:pt x="173735" y="187960"/>
                </a:lnTo>
                <a:lnTo>
                  <a:pt x="176783" y="193040"/>
                </a:lnTo>
                <a:lnTo>
                  <a:pt x="181355" y="193040"/>
                </a:lnTo>
                <a:lnTo>
                  <a:pt x="181355" y="224790"/>
                </a:lnTo>
                <a:lnTo>
                  <a:pt x="176783" y="224790"/>
                </a:lnTo>
                <a:lnTo>
                  <a:pt x="173735" y="229870"/>
                </a:lnTo>
                <a:close/>
              </a:path>
              <a:path w="297179" h="252730">
                <a:moveTo>
                  <a:pt x="181355" y="193040"/>
                </a:moveTo>
                <a:lnTo>
                  <a:pt x="176783" y="193040"/>
                </a:lnTo>
                <a:lnTo>
                  <a:pt x="173735" y="187960"/>
                </a:lnTo>
                <a:lnTo>
                  <a:pt x="181355" y="187960"/>
                </a:lnTo>
                <a:lnTo>
                  <a:pt x="181355" y="193040"/>
                </a:lnTo>
                <a:close/>
              </a:path>
              <a:path w="297179" h="252730">
                <a:moveTo>
                  <a:pt x="211835" y="193040"/>
                </a:moveTo>
                <a:lnTo>
                  <a:pt x="208787" y="193040"/>
                </a:lnTo>
                <a:lnTo>
                  <a:pt x="213360" y="187960"/>
                </a:lnTo>
                <a:lnTo>
                  <a:pt x="213360" y="190500"/>
                </a:lnTo>
                <a:lnTo>
                  <a:pt x="211835" y="191770"/>
                </a:lnTo>
                <a:lnTo>
                  <a:pt x="211835" y="193040"/>
                </a:lnTo>
                <a:close/>
              </a:path>
              <a:path w="297179" h="252730">
                <a:moveTo>
                  <a:pt x="239267" y="217170"/>
                </a:moveTo>
                <a:lnTo>
                  <a:pt x="213360" y="217170"/>
                </a:lnTo>
                <a:lnTo>
                  <a:pt x="213360" y="187960"/>
                </a:lnTo>
                <a:lnTo>
                  <a:pt x="239267" y="187960"/>
                </a:lnTo>
                <a:lnTo>
                  <a:pt x="239267" y="193040"/>
                </a:lnTo>
                <a:lnTo>
                  <a:pt x="219455" y="193040"/>
                </a:lnTo>
                <a:lnTo>
                  <a:pt x="214883" y="198120"/>
                </a:lnTo>
                <a:lnTo>
                  <a:pt x="219455" y="198120"/>
                </a:lnTo>
                <a:lnTo>
                  <a:pt x="219455" y="208280"/>
                </a:lnTo>
                <a:lnTo>
                  <a:pt x="214883" y="208280"/>
                </a:lnTo>
                <a:lnTo>
                  <a:pt x="219455" y="213360"/>
                </a:lnTo>
                <a:lnTo>
                  <a:pt x="239267" y="213360"/>
                </a:lnTo>
                <a:lnTo>
                  <a:pt x="239267" y="217170"/>
                </a:lnTo>
                <a:close/>
              </a:path>
              <a:path w="297179" h="252730">
                <a:moveTo>
                  <a:pt x="239267" y="217170"/>
                </a:moveTo>
                <a:lnTo>
                  <a:pt x="239267" y="215900"/>
                </a:lnTo>
                <a:lnTo>
                  <a:pt x="240792" y="214630"/>
                </a:lnTo>
                <a:lnTo>
                  <a:pt x="240792" y="191770"/>
                </a:lnTo>
                <a:lnTo>
                  <a:pt x="239267" y="190500"/>
                </a:lnTo>
                <a:lnTo>
                  <a:pt x="239267" y="187960"/>
                </a:lnTo>
                <a:lnTo>
                  <a:pt x="243839" y="193040"/>
                </a:lnTo>
                <a:lnTo>
                  <a:pt x="246887" y="193040"/>
                </a:lnTo>
                <a:lnTo>
                  <a:pt x="246887" y="213360"/>
                </a:lnTo>
                <a:lnTo>
                  <a:pt x="243839" y="213360"/>
                </a:lnTo>
                <a:lnTo>
                  <a:pt x="239267" y="217170"/>
                </a:lnTo>
                <a:close/>
              </a:path>
              <a:path w="297179" h="252730">
                <a:moveTo>
                  <a:pt x="246887" y="193040"/>
                </a:moveTo>
                <a:lnTo>
                  <a:pt x="243839" y="193040"/>
                </a:lnTo>
                <a:lnTo>
                  <a:pt x="239267" y="187960"/>
                </a:lnTo>
                <a:lnTo>
                  <a:pt x="246887" y="187960"/>
                </a:lnTo>
                <a:lnTo>
                  <a:pt x="246887" y="193040"/>
                </a:lnTo>
                <a:close/>
              </a:path>
              <a:path w="297179" h="252730">
                <a:moveTo>
                  <a:pt x="57912" y="215900"/>
                </a:moveTo>
                <a:lnTo>
                  <a:pt x="56387" y="214630"/>
                </a:lnTo>
                <a:lnTo>
                  <a:pt x="56387" y="191770"/>
                </a:lnTo>
                <a:lnTo>
                  <a:pt x="57912" y="190500"/>
                </a:lnTo>
                <a:lnTo>
                  <a:pt x="57912" y="215900"/>
                </a:lnTo>
                <a:close/>
              </a:path>
              <a:path w="297179" h="252730">
                <a:moveTo>
                  <a:pt x="83819" y="215900"/>
                </a:moveTo>
                <a:lnTo>
                  <a:pt x="83819" y="190500"/>
                </a:lnTo>
                <a:lnTo>
                  <a:pt x="85344" y="191770"/>
                </a:lnTo>
                <a:lnTo>
                  <a:pt x="85344" y="214630"/>
                </a:lnTo>
                <a:lnTo>
                  <a:pt x="83819" y="215900"/>
                </a:lnTo>
                <a:close/>
              </a:path>
              <a:path w="297179" h="252730">
                <a:moveTo>
                  <a:pt x="123444" y="228600"/>
                </a:moveTo>
                <a:lnTo>
                  <a:pt x="121919" y="226060"/>
                </a:lnTo>
                <a:lnTo>
                  <a:pt x="121919" y="191770"/>
                </a:lnTo>
                <a:lnTo>
                  <a:pt x="123444" y="190500"/>
                </a:lnTo>
                <a:lnTo>
                  <a:pt x="123444" y="228600"/>
                </a:lnTo>
                <a:close/>
              </a:path>
              <a:path w="297179" h="252730">
                <a:moveTo>
                  <a:pt x="173735" y="228600"/>
                </a:moveTo>
                <a:lnTo>
                  <a:pt x="173735" y="190500"/>
                </a:lnTo>
                <a:lnTo>
                  <a:pt x="175260" y="191770"/>
                </a:lnTo>
                <a:lnTo>
                  <a:pt x="175260" y="226060"/>
                </a:lnTo>
                <a:lnTo>
                  <a:pt x="173735" y="228600"/>
                </a:lnTo>
                <a:close/>
              </a:path>
              <a:path w="297179" h="252730">
                <a:moveTo>
                  <a:pt x="213360" y="215900"/>
                </a:moveTo>
                <a:lnTo>
                  <a:pt x="211835" y="214630"/>
                </a:lnTo>
                <a:lnTo>
                  <a:pt x="211835" y="191770"/>
                </a:lnTo>
                <a:lnTo>
                  <a:pt x="213360" y="190500"/>
                </a:lnTo>
                <a:lnTo>
                  <a:pt x="213360" y="215900"/>
                </a:lnTo>
                <a:close/>
              </a:path>
              <a:path w="297179" h="252730">
                <a:moveTo>
                  <a:pt x="239267" y="215900"/>
                </a:moveTo>
                <a:lnTo>
                  <a:pt x="239267" y="190500"/>
                </a:lnTo>
                <a:lnTo>
                  <a:pt x="240792" y="191770"/>
                </a:lnTo>
                <a:lnTo>
                  <a:pt x="240792" y="214630"/>
                </a:lnTo>
                <a:lnTo>
                  <a:pt x="239267" y="215900"/>
                </a:lnTo>
                <a:close/>
              </a:path>
              <a:path w="297179" h="252730">
                <a:moveTo>
                  <a:pt x="64007" y="198120"/>
                </a:moveTo>
                <a:lnTo>
                  <a:pt x="59435" y="198120"/>
                </a:lnTo>
                <a:lnTo>
                  <a:pt x="64007" y="193040"/>
                </a:lnTo>
                <a:lnTo>
                  <a:pt x="64007" y="198120"/>
                </a:lnTo>
                <a:close/>
              </a:path>
              <a:path w="297179" h="252730">
                <a:moveTo>
                  <a:pt x="77723" y="198120"/>
                </a:moveTo>
                <a:lnTo>
                  <a:pt x="64007" y="198120"/>
                </a:lnTo>
                <a:lnTo>
                  <a:pt x="64007" y="193040"/>
                </a:lnTo>
                <a:lnTo>
                  <a:pt x="77723" y="193040"/>
                </a:lnTo>
                <a:lnTo>
                  <a:pt x="77723" y="198120"/>
                </a:lnTo>
                <a:close/>
              </a:path>
              <a:path w="297179" h="252730">
                <a:moveTo>
                  <a:pt x="77723" y="213360"/>
                </a:moveTo>
                <a:lnTo>
                  <a:pt x="77723" y="193040"/>
                </a:lnTo>
                <a:lnTo>
                  <a:pt x="82296" y="198120"/>
                </a:lnTo>
                <a:lnTo>
                  <a:pt x="83819" y="198120"/>
                </a:lnTo>
                <a:lnTo>
                  <a:pt x="83819" y="208280"/>
                </a:lnTo>
                <a:lnTo>
                  <a:pt x="82296" y="208280"/>
                </a:lnTo>
                <a:lnTo>
                  <a:pt x="77723" y="213360"/>
                </a:lnTo>
                <a:close/>
              </a:path>
              <a:path w="297179" h="252730">
                <a:moveTo>
                  <a:pt x="83819" y="198120"/>
                </a:moveTo>
                <a:lnTo>
                  <a:pt x="82296" y="198120"/>
                </a:lnTo>
                <a:lnTo>
                  <a:pt x="77723" y="193040"/>
                </a:lnTo>
                <a:lnTo>
                  <a:pt x="83819" y="193040"/>
                </a:lnTo>
                <a:lnTo>
                  <a:pt x="83819" y="198120"/>
                </a:lnTo>
                <a:close/>
              </a:path>
              <a:path w="297179" h="252730">
                <a:moveTo>
                  <a:pt x="129539" y="198120"/>
                </a:moveTo>
                <a:lnTo>
                  <a:pt x="126492" y="198120"/>
                </a:lnTo>
                <a:lnTo>
                  <a:pt x="129539" y="193040"/>
                </a:lnTo>
                <a:lnTo>
                  <a:pt x="129539" y="198120"/>
                </a:lnTo>
                <a:close/>
              </a:path>
              <a:path w="297179" h="252730">
                <a:moveTo>
                  <a:pt x="167639" y="198120"/>
                </a:moveTo>
                <a:lnTo>
                  <a:pt x="129539" y="198120"/>
                </a:lnTo>
                <a:lnTo>
                  <a:pt x="129539" y="193040"/>
                </a:lnTo>
                <a:lnTo>
                  <a:pt x="167639" y="193040"/>
                </a:lnTo>
                <a:lnTo>
                  <a:pt x="167639" y="198120"/>
                </a:lnTo>
                <a:close/>
              </a:path>
              <a:path w="297179" h="252730">
                <a:moveTo>
                  <a:pt x="167639" y="223520"/>
                </a:moveTo>
                <a:lnTo>
                  <a:pt x="167639" y="193040"/>
                </a:lnTo>
                <a:lnTo>
                  <a:pt x="170687" y="198120"/>
                </a:lnTo>
                <a:lnTo>
                  <a:pt x="173735" y="198120"/>
                </a:lnTo>
                <a:lnTo>
                  <a:pt x="173735" y="220980"/>
                </a:lnTo>
                <a:lnTo>
                  <a:pt x="170687" y="220980"/>
                </a:lnTo>
                <a:lnTo>
                  <a:pt x="167639" y="223520"/>
                </a:lnTo>
                <a:close/>
              </a:path>
              <a:path w="297179" h="252730">
                <a:moveTo>
                  <a:pt x="173735" y="198120"/>
                </a:moveTo>
                <a:lnTo>
                  <a:pt x="170687" y="198120"/>
                </a:lnTo>
                <a:lnTo>
                  <a:pt x="167639" y="193040"/>
                </a:lnTo>
                <a:lnTo>
                  <a:pt x="173735" y="193040"/>
                </a:lnTo>
                <a:lnTo>
                  <a:pt x="173735" y="198120"/>
                </a:lnTo>
                <a:close/>
              </a:path>
              <a:path w="297179" h="252730">
                <a:moveTo>
                  <a:pt x="219455" y="198120"/>
                </a:moveTo>
                <a:lnTo>
                  <a:pt x="214883" y="198120"/>
                </a:lnTo>
                <a:lnTo>
                  <a:pt x="219455" y="193040"/>
                </a:lnTo>
                <a:lnTo>
                  <a:pt x="219455" y="198120"/>
                </a:lnTo>
                <a:close/>
              </a:path>
              <a:path w="297179" h="252730">
                <a:moveTo>
                  <a:pt x="233171" y="198120"/>
                </a:moveTo>
                <a:lnTo>
                  <a:pt x="219455" y="198120"/>
                </a:lnTo>
                <a:lnTo>
                  <a:pt x="219455" y="193040"/>
                </a:lnTo>
                <a:lnTo>
                  <a:pt x="233171" y="193040"/>
                </a:lnTo>
                <a:lnTo>
                  <a:pt x="233171" y="198120"/>
                </a:lnTo>
                <a:close/>
              </a:path>
              <a:path w="297179" h="252730">
                <a:moveTo>
                  <a:pt x="233171" y="213360"/>
                </a:moveTo>
                <a:lnTo>
                  <a:pt x="233171" y="193040"/>
                </a:lnTo>
                <a:lnTo>
                  <a:pt x="237744" y="198120"/>
                </a:lnTo>
                <a:lnTo>
                  <a:pt x="239267" y="198120"/>
                </a:lnTo>
                <a:lnTo>
                  <a:pt x="239267" y="208280"/>
                </a:lnTo>
                <a:lnTo>
                  <a:pt x="237744" y="208280"/>
                </a:lnTo>
                <a:lnTo>
                  <a:pt x="233171" y="213360"/>
                </a:lnTo>
                <a:close/>
              </a:path>
              <a:path w="297179" h="252730">
                <a:moveTo>
                  <a:pt x="239267" y="198120"/>
                </a:moveTo>
                <a:lnTo>
                  <a:pt x="237744" y="198120"/>
                </a:lnTo>
                <a:lnTo>
                  <a:pt x="233171" y="193040"/>
                </a:lnTo>
                <a:lnTo>
                  <a:pt x="239267" y="193040"/>
                </a:lnTo>
                <a:lnTo>
                  <a:pt x="239267" y="198120"/>
                </a:lnTo>
                <a:close/>
              </a:path>
              <a:path w="297179" h="252730">
                <a:moveTo>
                  <a:pt x="64007" y="213360"/>
                </a:moveTo>
                <a:lnTo>
                  <a:pt x="59435" y="208280"/>
                </a:lnTo>
                <a:lnTo>
                  <a:pt x="64007" y="208280"/>
                </a:lnTo>
                <a:lnTo>
                  <a:pt x="64007" y="213360"/>
                </a:lnTo>
                <a:close/>
              </a:path>
              <a:path w="297179" h="252730">
                <a:moveTo>
                  <a:pt x="77723" y="213360"/>
                </a:moveTo>
                <a:lnTo>
                  <a:pt x="64007" y="213360"/>
                </a:lnTo>
                <a:lnTo>
                  <a:pt x="64007" y="208280"/>
                </a:lnTo>
                <a:lnTo>
                  <a:pt x="77723" y="208280"/>
                </a:lnTo>
                <a:lnTo>
                  <a:pt x="77723" y="213360"/>
                </a:lnTo>
                <a:close/>
              </a:path>
              <a:path w="297179" h="252730">
                <a:moveTo>
                  <a:pt x="83819" y="213360"/>
                </a:moveTo>
                <a:lnTo>
                  <a:pt x="77723" y="213360"/>
                </a:lnTo>
                <a:lnTo>
                  <a:pt x="82296" y="208280"/>
                </a:lnTo>
                <a:lnTo>
                  <a:pt x="83819" y="208280"/>
                </a:lnTo>
                <a:lnTo>
                  <a:pt x="83819" y="213360"/>
                </a:lnTo>
                <a:close/>
              </a:path>
              <a:path w="297179" h="252730">
                <a:moveTo>
                  <a:pt x="219455" y="213360"/>
                </a:moveTo>
                <a:lnTo>
                  <a:pt x="214883" y="208280"/>
                </a:lnTo>
                <a:lnTo>
                  <a:pt x="219455" y="208280"/>
                </a:lnTo>
                <a:lnTo>
                  <a:pt x="219455" y="213360"/>
                </a:lnTo>
                <a:close/>
              </a:path>
              <a:path w="297179" h="252730">
                <a:moveTo>
                  <a:pt x="233171" y="213360"/>
                </a:moveTo>
                <a:lnTo>
                  <a:pt x="219455" y="213360"/>
                </a:lnTo>
                <a:lnTo>
                  <a:pt x="219455" y="208280"/>
                </a:lnTo>
                <a:lnTo>
                  <a:pt x="233171" y="208280"/>
                </a:lnTo>
                <a:lnTo>
                  <a:pt x="233171" y="213360"/>
                </a:lnTo>
                <a:close/>
              </a:path>
              <a:path w="297179" h="252730">
                <a:moveTo>
                  <a:pt x="239267" y="213360"/>
                </a:moveTo>
                <a:lnTo>
                  <a:pt x="233171" y="213360"/>
                </a:lnTo>
                <a:lnTo>
                  <a:pt x="237744" y="208280"/>
                </a:lnTo>
                <a:lnTo>
                  <a:pt x="239267" y="208280"/>
                </a:lnTo>
                <a:lnTo>
                  <a:pt x="239267" y="213360"/>
                </a:lnTo>
                <a:close/>
              </a:path>
              <a:path w="297179" h="252730">
                <a:moveTo>
                  <a:pt x="57912" y="217170"/>
                </a:moveTo>
                <a:lnTo>
                  <a:pt x="53339" y="213360"/>
                </a:lnTo>
                <a:lnTo>
                  <a:pt x="56387" y="213360"/>
                </a:lnTo>
                <a:lnTo>
                  <a:pt x="56387" y="214630"/>
                </a:lnTo>
                <a:lnTo>
                  <a:pt x="57912" y="215900"/>
                </a:lnTo>
                <a:lnTo>
                  <a:pt x="57912" y="217170"/>
                </a:lnTo>
                <a:close/>
              </a:path>
              <a:path w="297179" h="252730">
                <a:moveTo>
                  <a:pt x="91439" y="217170"/>
                </a:moveTo>
                <a:lnTo>
                  <a:pt x="83819" y="217170"/>
                </a:lnTo>
                <a:lnTo>
                  <a:pt x="88392" y="213360"/>
                </a:lnTo>
                <a:lnTo>
                  <a:pt x="91439" y="213360"/>
                </a:lnTo>
                <a:lnTo>
                  <a:pt x="91439" y="217170"/>
                </a:lnTo>
                <a:close/>
              </a:path>
              <a:path w="297179" h="252730">
                <a:moveTo>
                  <a:pt x="213360" y="217170"/>
                </a:moveTo>
                <a:lnTo>
                  <a:pt x="208787" y="213360"/>
                </a:lnTo>
                <a:lnTo>
                  <a:pt x="211835" y="213360"/>
                </a:lnTo>
                <a:lnTo>
                  <a:pt x="211835" y="214630"/>
                </a:lnTo>
                <a:lnTo>
                  <a:pt x="213360" y="215900"/>
                </a:lnTo>
                <a:lnTo>
                  <a:pt x="213360" y="217170"/>
                </a:lnTo>
                <a:close/>
              </a:path>
              <a:path w="297179" h="252730">
                <a:moveTo>
                  <a:pt x="246887" y="217170"/>
                </a:moveTo>
                <a:lnTo>
                  <a:pt x="239267" y="217170"/>
                </a:lnTo>
                <a:lnTo>
                  <a:pt x="243839" y="213360"/>
                </a:lnTo>
                <a:lnTo>
                  <a:pt x="246887" y="213360"/>
                </a:lnTo>
                <a:lnTo>
                  <a:pt x="246887" y="217170"/>
                </a:lnTo>
                <a:close/>
              </a:path>
              <a:path w="297179" h="252730">
                <a:moveTo>
                  <a:pt x="295655" y="252730"/>
                </a:moveTo>
                <a:lnTo>
                  <a:pt x="1523" y="252730"/>
                </a:lnTo>
                <a:lnTo>
                  <a:pt x="0" y="248920"/>
                </a:lnTo>
                <a:lnTo>
                  <a:pt x="0" y="222250"/>
                </a:lnTo>
                <a:lnTo>
                  <a:pt x="1523" y="220980"/>
                </a:lnTo>
                <a:lnTo>
                  <a:pt x="18287" y="220980"/>
                </a:lnTo>
                <a:lnTo>
                  <a:pt x="18287" y="223520"/>
                </a:lnTo>
                <a:lnTo>
                  <a:pt x="7619" y="223520"/>
                </a:lnTo>
                <a:lnTo>
                  <a:pt x="3048" y="228600"/>
                </a:lnTo>
                <a:lnTo>
                  <a:pt x="6096" y="228600"/>
                </a:lnTo>
                <a:lnTo>
                  <a:pt x="6096" y="243840"/>
                </a:lnTo>
                <a:lnTo>
                  <a:pt x="3048" y="243840"/>
                </a:lnTo>
                <a:lnTo>
                  <a:pt x="7619" y="247650"/>
                </a:lnTo>
                <a:lnTo>
                  <a:pt x="297180" y="247650"/>
                </a:lnTo>
                <a:lnTo>
                  <a:pt x="297180" y="248920"/>
                </a:lnTo>
                <a:lnTo>
                  <a:pt x="295655" y="252730"/>
                </a:lnTo>
                <a:close/>
              </a:path>
              <a:path w="297179" h="252730">
                <a:moveTo>
                  <a:pt x="289560" y="247650"/>
                </a:moveTo>
                <a:lnTo>
                  <a:pt x="7619" y="247650"/>
                </a:lnTo>
                <a:lnTo>
                  <a:pt x="7619" y="223520"/>
                </a:lnTo>
                <a:lnTo>
                  <a:pt x="18287" y="223520"/>
                </a:lnTo>
                <a:lnTo>
                  <a:pt x="21335" y="220980"/>
                </a:lnTo>
                <a:lnTo>
                  <a:pt x="24383" y="220980"/>
                </a:lnTo>
                <a:lnTo>
                  <a:pt x="24383" y="229870"/>
                </a:lnTo>
                <a:lnTo>
                  <a:pt x="13716" y="229870"/>
                </a:lnTo>
                <a:lnTo>
                  <a:pt x="9144" y="232410"/>
                </a:lnTo>
                <a:lnTo>
                  <a:pt x="13716" y="232410"/>
                </a:lnTo>
                <a:lnTo>
                  <a:pt x="13716" y="237490"/>
                </a:lnTo>
                <a:lnTo>
                  <a:pt x="9144" y="237490"/>
                </a:lnTo>
                <a:lnTo>
                  <a:pt x="13716" y="241300"/>
                </a:lnTo>
                <a:lnTo>
                  <a:pt x="289560" y="241300"/>
                </a:lnTo>
                <a:lnTo>
                  <a:pt x="289560" y="247650"/>
                </a:lnTo>
                <a:close/>
              </a:path>
              <a:path w="297179" h="252730">
                <a:moveTo>
                  <a:pt x="129539" y="223520"/>
                </a:moveTo>
                <a:lnTo>
                  <a:pt x="126492" y="220980"/>
                </a:lnTo>
                <a:lnTo>
                  <a:pt x="129539" y="220980"/>
                </a:lnTo>
                <a:lnTo>
                  <a:pt x="129539" y="223520"/>
                </a:lnTo>
                <a:close/>
              </a:path>
              <a:path w="297179" h="252730">
                <a:moveTo>
                  <a:pt x="167639" y="223520"/>
                </a:moveTo>
                <a:lnTo>
                  <a:pt x="129539" y="223520"/>
                </a:lnTo>
                <a:lnTo>
                  <a:pt x="129539" y="220980"/>
                </a:lnTo>
                <a:lnTo>
                  <a:pt x="167639" y="220980"/>
                </a:lnTo>
                <a:lnTo>
                  <a:pt x="167639" y="223520"/>
                </a:lnTo>
                <a:close/>
              </a:path>
              <a:path w="297179" h="252730">
                <a:moveTo>
                  <a:pt x="173735" y="223520"/>
                </a:moveTo>
                <a:lnTo>
                  <a:pt x="167639" y="223520"/>
                </a:lnTo>
                <a:lnTo>
                  <a:pt x="170687" y="220980"/>
                </a:lnTo>
                <a:lnTo>
                  <a:pt x="173735" y="220980"/>
                </a:lnTo>
                <a:lnTo>
                  <a:pt x="173735" y="223520"/>
                </a:lnTo>
                <a:close/>
              </a:path>
              <a:path w="297179" h="252730">
                <a:moveTo>
                  <a:pt x="280416" y="223520"/>
                </a:moveTo>
                <a:lnTo>
                  <a:pt x="275844" y="220980"/>
                </a:lnTo>
                <a:lnTo>
                  <a:pt x="280416" y="220980"/>
                </a:lnTo>
                <a:lnTo>
                  <a:pt x="280416" y="223520"/>
                </a:lnTo>
                <a:close/>
              </a:path>
              <a:path w="297179" h="252730">
                <a:moveTo>
                  <a:pt x="297180" y="228600"/>
                </a:moveTo>
                <a:lnTo>
                  <a:pt x="294132" y="228600"/>
                </a:lnTo>
                <a:lnTo>
                  <a:pt x="289560" y="223520"/>
                </a:lnTo>
                <a:lnTo>
                  <a:pt x="280416" y="223520"/>
                </a:lnTo>
                <a:lnTo>
                  <a:pt x="280416" y="220980"/>
                </a:lnTo>
                <a:lnTo>
                  <a:pt x="295655" y="220980"/>
                </a:lnTo>
                <a:lnTo>
                  <a:pt x="297180" y="222250"/>
                </a:lnTo>
                <a:lnTo>
                  <a:pt x="297180" y="228600"/>
                </a:lnTo>
                <a:close/>
              </a:path>
              <a:path w="297179" h="252730">
                <a:moveTo>
                  <a:pt x="6096" y="228600"/>
                </a:moveTo>
                <a:lnTo>
                  <a:pt x="3048" y="228600"/>
                </a:lnTo>
                <a:lnTo>
                  <a:pt x="7619" y="223520"/>
                </a:lnTo>
                <a:lnTo>
                  <a:pt x="7619" y="224790"/>
                </a:lnTo>
                <a:lnTo>
                  <a:pt x="6096" y="226060"/>
                </a:lnTo>
                <a:lnTo>
                  <a:pt x="6096" y="228600"/>
                </a:lnTo>
                <a:close/>
              </a:path>
              <a:path w="297179" h="252730">
                <a:moveTo>
                  <a:pt x="289560" y="247650"/>
                </a:moveTo>
                <a:lnTo>
                  <a:pt x="289560" y="246380"/>
                </a:lnTo>
                <a:lnTo>
                  <a:pt x="291083" y="243840"/>
                </a:lnTo>
                <a:lnTo>
                  <a:pt x="291083" y="226060"/>
                </a:lnTo>
                <a:lnTo>
                  <a:pt x="289560" y="224790"/>
                </a:lnTo>
                <a:lnTo>
                  <a:pt x="289560" y="223520"/>
                </a:lnTo>
                <a:lnTo>
                  <a:pt x="294132" y="228600"/>
                </a:lnTo>
                <a:lnTo>
                  <a:pt x="297180" y="228600"/>
                </a:lnTo>
                <a:lnTo>
                  <a:pt x="297180" y="243840"/>
                </a:lnTo>
                <a:lnTo>
                  <a:pt x="294132" y="243840"/>
                </a:lnTo>
                <a:lnTo>
                  <a:pt x="289560" y="247650"/>
                </a:lnTo>
                <a:close/>
              </a:path>
              <a:path w="297179" h="252730">
                <a:moveTo>
                  <a:pt x="7619" y="246380"/>
                </a:moveTo>
                <a:lnTo>
                  <a:pt x="6096" y="243840"/>
                </a:lnTo>
                <a:lnTo>
                  <a:pt x="6096" y="226060"/>
                </a:lnTo>
                <a:lnTo>
                  <a:pt x="7619" y="224790"/>
                </a:lnTo>
                <a:lnTo>
                  <a:pt x="7619" y="246380"/>
                </a:lnTo>
                <a:close/>
              </a:path>
              <a:path w="297179" h="252730">
                <a:moveTo>
                  <a:pt x="30480" y="232410"/>
                </a:moveTo>
                <a:lnTo>
                  <a:pt x="13716" y="232410"/>
                </a:lnTo>
                <a:lnTo>
                  <a:pt x="13716" y="229870"/>
                </a:lnTo>
                <a:lnTo>
                  <a:pt x="24383" y="229870"/>
                </a:lnTo>
                <a:lnTo>
                  <a:pt x="27432" y="224790"/>
                </a:lnTo>
                <a:lnTo>
                  <a:pt x="32003" y="224790"/>
                </a:lnTo>
                <a:lnTo>
                  <a:pt x="32003" y="231140"/>
                </a:lnTo>
                <a:lnTo>
                  <a:pt x="30480" y="232410"/>
                </a:lnTo>
                <a:close/>
              </a:path>
              <a:path w="297179" h="252730">
                <a:moveTo>
                  <a:pt x="123444" y="229870"/>
                </a:moveTo>
                <a:lnTo>
                  <a:pt x="118871" y="224790"/>
                </a:lnTo>
                <a:lnTo>
                  <a:pt x="121919" y="224790"/>
                </a:lnTo>
                <a:lnTo>
                  <a:pt x="121919" y="226060"/>
                </a:lnTo>
                <a:lnTo>
                  <a:pt x="123444" y="228600"/>
                </a:lnTo>
                <a:lnTo>
                  <a:pt x="123444" y="229870"/>
                </a:lnTo>
                <a:close/>
              </a:path>
              <a:path w="297179" h="252730">
                <a:moveTo>
                  <a:pt x="181355" y="229870"/>
                </a:moveTo>
                <a:lnTo>
                  <a:pt x="173735" y="229870"/>
                </a:lnTo>
                <a:lnTo>
                  <a:pt x="176783" y="224790"/>
                </a:lnTo>
                <a:lnTo>
                  <a:pt x="181355" y="224790"/>
                </a:lnTo>
                <a:lnTo>
                  <a:pt x="181355" y="229870"/>
                </a:lnTo>
                <a:close/>
              </a:path>
              <a:path w="297179" h="252730">
                <a:moveTo>
                  <a:pt x="272796" y="229870"/>
                </a:moveTo>
                <a:lnTo>
                  <a:pt x="268223" y="224790"/>
                </a:lnTo>
                <a:lnTo>
                  <a:pt x="272796" y="224790"/>
                </a:lnTo>
                <a:lnTo>
                  <a:pt x="272796" y="229870"/>
                </a:lnTo>
                <a:close/>
              </a:path>
              <a:path w="297179" h="252730">
                <a:moveTo>
                  <a:pt x="289560" y="246380"/>
                </a:moveTo>
                <a:lnTo>
                  <a:pt x="289560" y="224790"/>
                </a:lnTo>
                <a:lnTo>
                  <a:pt x="291083" y="226060"/>
                </a:lnTo>
                <a:lnTo>
                  <a:pt x="291083" y="243840"/>
                </a:lnTo>
                <a:lnTo>
                  <a:pt x="289560" y="246380"/>
                </a:lnTo>
                <a:close/>
              </a:path>
              <a:path w="297179" h="252730">
                <a:moveTo>
                  <a:pt x="289560" y="232410"/>
                </a:moveTo>
                <a:lnTo>
                  <a:pt x="288035" y="232410"/>
                </a:lnTo>
                <a:lnTo>
                  <a:pt x="283464" y="229870"/>
                </a:lnTo>
                <a:lnTo>
                  <a:pt x="272796" y="229870"/>
                </a:lnTo>
                <a:lnTo>
                  <a:pt x="272796" y="226060"/>
                </a:lnTo>
                <a:lnTo>
                  <a:pt x="274319" y="228600"/>
                </a:lnTo>
                <a:lnTo>
                  <a:pt x="289560" y="228600"/>
                </a:lnTo>
                <a:lnTo>
                  <a:pt x="289560" y="232410"/>
                </a:lnTo>
                <a:close/>
              </a:path>
              <a:path w="297179" h="252730">
                <a:moveTo>
                  <a:pt x="13716" y="232410"/>
                </a:moveTo>
                <a:lnTo>
                  <a:pt x="9144" y="232410"/>
                </a:lnTo>
                <a:lnTo>
                  <a:pt x="13716" y="229870"/>
                </a:lnTo>
                <a:lnTo>
                  <a:pt x="13716" y="232410"/>
                </a:lnTo>
                <a:close/>
              </a:path>
              <a:path w="297179" h="252730">
                <a:moveTo>
                  <a:pt x="283464" y="241300"/>
                </a:moveTo>
                <a:lnTo>
                  <a:pt x="283464" y="229870"/>
                </a:lnTo>
                <a:lnTo>
                  <a:pt x="288035" y="232410"/>
                </a:lnTo>
                <a:lnTo>
                  <a:pt x="289560" y="232410"/>
                </a:lnTo>
                <a:lnTo>
                  <a:pt x="289560" y="237490"/>
                </a:lnTo>
                <a:lnTo>
                  <a:pt x="288035" y="237490"/>
                </a:lnTo>
                <a:lnTo>
                  <a:pt x="283464" y="241300"/>
                </a:lnTo>
                <a:close/>
              </a:path>
              <a:path w="297179" h="252730">
                <a:moveTo>
                  <a:pt x="13716" y="241300"/>
                </a:moveTo>
                <a:lnTo>
                  <a:pt x="9144" y="237490"/>
                </a:lnTo>
                <a:lnTo>
                  <a:pt x="13716" y="237490"/>
                </a:lnTo>
                <a:lnTo>
                  <a:pt x="13716" y="241300"/>
                </a:lnTo>
                <a:close/>
              </a:path>
              <a:path w="297179" h="252730">
                <a:moveTo>
                  <a:pt x="283464" y="241300"/>
                </a:moveTo>
                <a:lnTo>
                  <a:pt x="13716" y="241300"/>
                </a:lnTo>
                <a:lnTo>
                  <a:pt x="13716" y="237490"/>
                </a:lnTo>
                <a:lnTo>
                  <a:pt x="283464" y="237490"/>
                </a:lnTo>
                <a:lnTo>
                  <a:pt x="283464" y="241300"/>
                </a:lnTo>
                <a:close/>
              </a:path>
              <a:path w="297179" h="252730">
                <a:moveTo>
                  <a:pt x="289560" y="241300"/>
                </a:moveTo>
                <a:lnTo>
                  <a:pt x="283464" y="241300"/>
                </a:lnTo>
                <a:lnTo>
                  <a:pt x="288035" y="237490"/>
                </a:lnTo>
                <a:lnTo>
                  <a:pt x="289560" y="237490"/>
                </a:lnTo>
                <a:lnTo>
                  <a:pt x="289560" y="241300"/>
                </a:lnTo>
                <a:close/>
              </a:path>
              <a:path w="297179" h="252730">
                <a:moveTo>
                  <a:pt x="7619" y="247650"/>
                </a:moveTo>
                <a:lnTo>
                  <a:pt x="3048" y="243840"/>
                </a:lnTo>
                <a:lnTo>
                  <a:pt x="6096" y="243840"/>
                </a:lnTo>
                <a:lnTo>
                  <a:pt x="7619" y="246380"/>
                </a:lnTo>
                <a:lnTo>
                  <a:pt x="7619" y="247650"/>
                </a:lnTo>
                <a:close/>
              </a:path>
              <a:path w="297179" h="252730">
                <a:moveTo>
                  <a:pt x="297180" y="247650"/>
                </a:moveTo>
                <a:lnTo>
                  <a:pt x="289560" y="247650"/>
                </a:lnTo>
                <a:lnTo>
                  <a:pt x="294132" y="243840"/>
                </a:lnTo>
                <a:lnTo>
                  <a:pt x="297180" y="243840"/>
                </a:lnTo>
                <a:lnTo>
                  <a:pt x="297180" y="2476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9470969" y="2731638"/>
            <a:ext cx="76200" cy="9525"/>
          </a:xfrm>
          <a:custGeom>
            <a:avLst/>
            <a:gdLst/>
            <a:ahLst/>
            <a:cxnLst/>
            <a:rect l="l" t="t" r="r" b="b"/>
            <a:pathLst>
              <a:path w="62865" h="10794">
                <a:moveTo>
                  <a:pt x="0" y="0"/>
                </a:moveTo>
                <a:lnTo>
                  <a:pt x="62483" y="0"/>
                </a:lnTo>
                <a:lnTo>
                  <a:pt x="62483" y="10667"/>
                </a:lnTo>
                <a:lnTo>
                  <a:pt x="0" y="10667"/>
                </a:lnTo>
                <a:lnTo>
                  <a:pt x="0" y="0"/>
                </a:lnTo>
                <a:close/>
              </a:path>
            </a:pathLst>
          </a:custGeom>
          <a:solidFill>
            <a:srgbClr val="1C1C1A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9500524" y="2712812"/>
            <a:ext cx="15394" cy="47065"/>
          </a:xfrm>
          <a:custGeom>
            <a:avLst/>
            <a:gdLst/>
            <a:ahLst/>
            <a:cxnLst/>
            <a:rect l="l" t="t" r="r" b="b"/>
            <a:pathLst>
              <a:path w="12700" h="53339">
                <a:moveTo>
                  <a:pt x="12191" y="53340"/>
                </a:moveTo>
                <a:lnTo>
                  <a:pt x="1523" y="53340"/>
                </a:lnTo>
                <a:lnTo>
                  <a:pt x="0" y="0"/>
                </a:lnTo>
                <a:lnTo>
                  <a:pt x="10667" y="0"/>
                </a:lnTo>
                <a:lnTo>
                  <a:pt x="12191" y="53340"/>
                </a:lnTo>
                <a:close/>
              </a:path>
            </a:pathLst>
          </a:custGeom>
          <a:solidFill>
            <a:srgbClr val="1C1C1A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7390937" y="5611999"/>
            <a:ext cx="451042" cy="336176"/>
          </a:xfrm>
          <a:custGeom>
            <a:avLst/>
            <a:gdLst/>
            <a:ahLst/>
            <a:cxnLst/>
            <a:rect l="l" t="t" r="r" b="b"/>
            <a:pathLst>
              <a:path w="372110" h="381000">
                <a:moveTo>
                  <a:pt x="0" y="0"/>
                </a:moveTo>
                <a:lnTo>
                  <a:pt x="371856" y="0"/>
                </a:lnTo>
                <a:lnTo>
                  <a:pt x="371856" y="381000"/>
                </a:lnTo>
                <a:lnTo>
                  <a:pt x="0" y="381000"/>
                </a:lnTo>
                <a:lnTo>
                  <a:pt x="0" y="0"/>
                </a:lnTo>
                <a:close/>
              </a:path>
            </a:pathLst>
          </a:custGeom>
          <a:solidFill>
            <a:srgbClr val="00AFEF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7333673" y="5573003"/>
            <a:ext cx="561570" cy="411479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5122487" y="3410713"/>
            <a:ext cx="412558" cy="268941"/>
          </a:xfrm>
          <a:custGeom>
            <a:avLst/>
            <a:gdLst/>
            <a:ahLst/>
            <a:cxnLst/>
            <a:rect l="l" t="t" r="r" b="b"/>
            <a:pathLst>
              <a:path w="340360" h="304800">
                <a:moveTo>
                  <a:pt x="169164" y="304800"/>
                </a:moveTo>
                <a:lnTo>
                  <a:pt x="115872" y="296997"/>
                </a:lnTo>
                <a:lnTo>
                  <a:pt x="69457" y="275295"/>
                </a:lnTo>
                <a:lnTo>
                  <a:pt x="32772" y="242255"/>
                </a:lnTo>
                <a:lnTo>
                  <a:pt x="8668" y="200436"/>
                </a:lnTo>
                <a:lnTo>
                  <a:pt x="0" y="152400"/>
                </a:lnTo>
                <a:lnTo>
                  <a:pt x="8668" y="104363"/>
                </a:lnTo>
                <a:lnTo>
                  <a:pt x="32772" y="62544"/>
                </a:lnTo>
                <a:lnTo>
                  <a:pt x="69457" y="29504"/>
                </a:lnTo>
                <a:lnTo>
                  <a:pt x="115872" y="7802"/>
                </a:lnTo>
                <a:lnTo>
                  <a:pt x="169164" y="0"/>
                </a:lnTo>
                <a:lnTo>
                  <a:pt x="214615" y="5468"/>
                </a:lnTo>
                <a:lnTo>
                  <a:pt x="255411" y="20884"/>
                </a:lnTo>
                <a:lnTo>
                  <a:pt x="289941" y="44767"/>
                </a:lnTo>
                <a:lnTo>
                  <a:pt x="316596" y="75635"/>
                </a:lnTo>
                <a:lnTo>
                  <a:pt x="333770" y="112006"/>
                </a:lnTo>
                <a:lnTo>
                  <a:pt x="339852" y="152400"/>
                </a:lnTo>
                <a:lnTo>
                  <a:pt x="333770" y="192793"/>
                </a:lnTo>
                <a:lnTo>
                  <a:pt x="316596" y="229164"/>
                </a:lnTo>
                <a:lnTo>
                  <a:pt x="289941" y="260032"/>
                </a:lnTo>
                <a:lnTo>
                  <a:pt x="255411" y="283915"/>
                </a:lnTo>
                <a:lnTo>
                  <a:pt x="214615" y="299331"/>
                </a:lnTo>
                <a:lnTo>
                  <a:pt x="169164" y="30480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5116944" y="3406680"/>
            <a:ext cx="423333" cy="278466"/>
          </a:xfrm>
          <a:custGeom>
            <a:avLst/>
            <a:gdLst/>
            <a:ahLst/>
            <a:cxnLst/>
            <a:rect l="l" t="t" r="r" b="b"/>
            <a:pathLst>
              <a:path w="349250" h="315595">
                <a:moveTo>
                  <a:pt x="175260" y="315467"/>
                </a:moveTo>
                <a:lnTo>
                  <a:pt x="106680" y="303276"/>
                </a:lnTo>
                <a:lnTo>
                  <a:pt x="64008" y="278892"/>
                </a:lnTo>
                <a:lnTo>
                  <a:pt x="21336" y="233172"/>
                </a:lnTo>
                <a:lnTo>
                  <a:pt x="3048" y="188976"/>
                </a:lnTo>
                <a:lnTo>
                  <a:pt x="0" y="173736"/>
                </a:lnTo>
                <a:lnTo>
                  <a:pt x="0" y="141732"/>
                </a:lnTo>
                <a:lnTo>
                  <a:pt x="13716" y="96012"/>
                </a:lnTo>
                <a:lnTo>
                  <a:pt x="39624" y="56388"/>
                </a:lnTo>
                <a:lnTo>
                  <a:pt x="76200" y="25908"/>
                </a:lnTo>
                <a:lnTo>
                  <a:pt x="121920" y="6096"/>
                </a:lnTo>
                <a:lnTo>
                  <a:pt x="156972" y="0"/>
                </a:lnTo>
                <a:lnTo>
                  <a:pt x="192024" y="0"/>
                </a:lnTo>
                <a:lnTo>
                  <a:pt x="225552" y="6096"/>
                </a:lnTo>
                <a:lnTo>
                  <a:pt x="238125" y="10668"/>
                </a:lnTo>
                <a:lnTo>
                  <a:pt x="156972" y="10668"/>
                </a:lnTo>
                <a:lnTo>
                  <a:pt x="141732" y="13716"/>
                </a:lnTo>
                <a:lnTo>
                  <a:pt x="96012" y="27432"/>
                </a:lnTo>
                <a:lnTo>
                  <a:pt x="57912" y="53340"/>
                </a:lnTo>
                <a:lnTo>
                  <a:pt x="30480" y="86868"/>
                </a:lnTo>
                <a:lnTo>
                  <a:pt x="13716" y="128016"/>
                </a:lnTo>
                <a:lnTo>
                  <a:pt x="10668" y="141732"/>
                </a:lnTo>
                <a:lnTo>
                  <a:pt x="10668" y="172212"/>
                </a:lnTo>
                <a:lnTo>
                  <a:pt x="13716" y="185928"/>
                </a:lnTo>
                <a:lnTo>
                  <a:pt x="16764" y="201168"/>
                </a:lnTo>
                <a:lnTo>
                  <a:pt x="22860" y="213360"/>
                </a:lnTo>
                <a:lnTo>
                  <a:pt x="28956" y="227076"/>
                </a:lnTo>
                <a:lnTo>
                  <a:pt x="38100" y="239268"/>
                </a:lnTo>
                <a:lnTo>
                  <a:pt x="70104" y="271272"/>
                </a:lnTo>
                <a:lnTo>
                  <a:pt x="109728" y="292608"/>
                </a:lnTo>
                <a:lnTo>
                  <a:pt x="173736" y="304800"/>
                </a:lnTo>
                <a:lnTo>
                  <a:pt x="237236" y="304800"/>
                </a:lnTo>
                <a:lnTo>
                  <a:pt x="227076" y="307848"/>
                </a:lnTo>
                <a:lnTo>
                  <a:pt x="210312" y="312420"/>
                </a:lnTo>
                <a:lnTo>
                  <a:pt x="175260" y="315467"/>
                </a:lnTo>
                <a:close/>
              </a:path>
              <a:path w="349250" h="315595">
                <a:moveTo>
                  <a:pt x="237236" y="304800"/>
                </a:moveTo>
                <a:lnTo>
                  <a:pt x="173736" y="304800"/>
                </a:lnTo>
                <a:lnTo>
                  <a:pt x="207264" y="301752"/>
                </a:lnTo>
                <a:lnTo>
                  <a:pt x="237743" y="292608"/>
                </a:lnTo>
                <a:lnTo>
                  <a:pt x="252983" y="286512"/>
                </a:lnTo>
                <a:lnTo>
                  <a:pt x="266700" y="278892"/>
                </a:lnTo>
                <a:lnTo>
                  <a:pt x="278892" y="271272"/>
                </a:lnTo>
                <a:lnTo>
                  <a:pt x="291083" y="260604"/>
                </a:lnTo>
                <a:lnTo>
                  <a:pt x="301752" y="251460"/>
                </a:lnTo>
                <a:lnTo>
                  <a:pt x="310895" y="239268"/>
                </a:lnTo>
                <a:lnTo>
                  <a:pt x="326136" y="214884"/>
                </a:lnTo>
                <a:lnTo>
                  <a:pt x="335280" y="187452"/>
                </a:lnTo>
                <a:lnTo>
                  <a:pt x="338328" y="172212"/>
                </a:lnTo>
                <a:lnTo>
                  <a:pt x="338328" y="141732"/>
                </a:lnTo>
                <a:lnTo>
                  <a:pt x="326136" y="100584"/>
                </a:lnTo>
                <a:lnTo>
                  <a:pt x="301752" y="64008"/>
                </a:lnTo>
                <a:lnTo>
                  <a:pt x="266700" y="35052"/>
                </a:lnTo>
                <a:lnTo>
                  <a:pt x="224028" y="16764"/>
                </a:lnTo>
                <a:lnTo>
                  <a:pt x="207264" y="13716"/>
                </a:lnTo>
                <a:lnTo>
                  <a:pt x="192024" y="10668"/>
                </a:lnTo>
                <a:lnTo>
                  <a:pt x="238125" y="10668"/>
                </a:lnTo>
                <a:lnTo>
                  <a:pt x="242316" y="12192"/>
                </a:lnTo>
                <a:lnTo>
                  <a:pt x="284988" y="35052"/>
                </a:lnTo>
                <a:lnTo>
                  <a:pt x="318515" y="68580"/>
                </a:lnTo>
                <a:lnTo>
                  <a:pt x="341376" y="109728"/>
                </a:lnTo>
                <a:lnTo>
                  <a:pt x="348996" y="156972"/>
                </a:lnTo>
                <a:lnTo>
                  <a:pt x="347472" y="173736"/>
                </a:lnTo>
                <a:lnTo>
                  <a:pt x="335280" y="217932"/>
                </a:lnTo>
                <a:lnTo>
                  <a:pt x="309372" y="257556"/>
                </a:lnTo>
                <a:lnTo>
                  <a:pt x="272795" y="288036"/>
                </a:lnTo>
                <a:lnTo>
                  <a:pt x="242316" y="303276"/>
                </a:lnTo>
                <a:lnTo>
                  <a:pt x="237236" y="30480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4359005" y="3376404"/>
            <a:ext cx="3429000" cy="860492"/>
          </a:xfrm>
          <a:prstGeom prst="rect">
            <a:avLst/>
          </a:prstGeom>
        </p:spPr>
        <p:txBody>
          <a:bodyPr vert="horz" wrap="square" lIns="0" tIns="54610" rIns="0" bIns="0" rtlCol="0">
            <a:spAutoFit/>
          </a:bodyPr>
          <a:lstStyle/>
          <a:p>
            <a:pPr marL="693420" defTabSz="914400" hangingPunct="1">
              <a:spcBef>
                <a:spcPts val="430"/>
              </a:spcBef>
            </a:pPr>
            <a:r>
              <a:rPr sz="1650" b="1" kern="1200" spc="-25" dirty="0">
                <a:solidFill>
                  <a:srgbClr val="FFFFFF"/>
                </a:solidFill>
                <a:latin typeface="Arial"/>
                <a:cs typeface="Arial"/>
              </a:rPr>
              <a:t>AI</a:t>
            </a:r>
            <a:endParaRPr sz="1650" kern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 defTabSz="914400" hangingPunct="1">
              <a:lnSpc>
                <a:spcPts val="2730"/>
              </a:lnSpc>
              <a:spcBef>
                <a:spcPts val="480"/>
              </a:spcBef>
            </a:pPr>
            <a:r>
              <a:rPr sz="2300" b="1" kern="1200" spc="20" dirty="0">
                <a:solidFill>
                  <a:srgbClr val="FF0000"/>
                </a:solidFill>
                <a:latin typeface="Arial"/>
                <a:cs typeface="Arial"/>
              </a:rPr>
              <a:t>C</a:t>
            </a:r>
            <a:r>
              <a:rPr sz="1450" b="1" kern="1200" spc="20" dirty="0">
                <a:solidFill>
                  <a:srgbClr val="FFFFFF"/>
                </a:solidFill>
                <a:latin typeface="Arial"/>
                <a:cs typeface="Arial"/>
              </a:rPr>
              <a:t>ommand </a:t>
            </a:r>
            <a:r>
              <a:rPr sz="1450" b="1" kern="1200" spc="25" dirty="0">
                <a:solidFill>
                  <a:srgbClr val="FFFFFF"/>
                </a:solidFill>
                <a:latin typeface="Arial"/>
                <a:cs typeface="Arial"/>
              </a:rPr>
              <a:t>&amp; </a:t>
            </a:r>
            <a:r>
              <a:rPr sz="2300" b="1" kern="1200" spc="15" dirty="0">
                <a:solidFill>
                  <a:srgbClr val="FF0000"/>
                </a:solidFill>
                <a:latin typeface="Arial"/>
                <a:cs typeface="Arial"/>
              </a:rPr>
              <a:t>C</a:t>
            </a:r>
            <a:r>
              <a:rPr sz="1450" b="1" kern="1200" spc="15" dirty="0">
                <a:solidFill>
                  <a:srgbClr val="FFFFFF"/>
                </a:solidFill>
                <a:latin typeface="Arial"/>
                <a:cs typeface="Arial"/>
              </a:rPr>
              <a:t>ontrol</a:t>
            </a:r>
            <a:r>
              <a:rPr sz="1450" b="1" kern="1200" spc="-1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50" b="1" kern="1200" spc="-25" dirty="0">
                <a:solidFill>
                  <a:srgbClr val="FFFFFF"/>
                </a:solidFill>
                <a:latin typeface="Arial"/>
                <a:cs typeface="Arial"/>
              </a:rPr>
              <a:t>112/999</a:t>
            </a:r>
            <a:endParaRPr sz="1650" kern="1200">
              <a:solidFill>
                <a:prstClr val="black"/>
              </a:solidFill>
              <a:latin typeface="Arial"/>
              <a:cs typeface="Arial"/>
            </a:endParaRPr>
          </a:p>
          <a:p>
            <a:pPr marL="42545" defTabSz="914400" hangingPunct="1">
              <a:lnSpc>
                <a:spcPts val="1050"/>
              </a:lnSpc>
            </a:pPr>
            <a:r>
              <a:rPr sz="900" kern="1200" dirty="0">
                <a:solidFill>
                  <a:srgbClr val="FFFFFF"/>
                </a:solidFill>
                <a:latin typeface="Arial"/>
                <a:cs typeface="Arial"/>
              </a:rPr>
              <a:t>Command </a:t>
            </a:r>
            <a:r>
              <a:rPr sz="900" kern="1200" spc="5" dirty="0">
                <a:solidFill>
                  <a:srgbClr val="FFFFFF"/>
                </a:solidFill>
                <a:latin typeface="Arial"/>
                <a:cs typeface="Arial"/>
              </a:rPr>
              <a:t>&amp; </a:t>
            </a:r>
            <a:r>
              <a:rPr sz="900" kern="1200" dirty="0">
                <a:solidFill>
                  <a:srgbClr val="FFFFFF"/>
                </a:solidFill>
                <a:latin typeface="Arial"/>
                <a:cs typeface="Arial"/>
              </a:rPr>
              <a:t>Control, Crisis Center, Mobile</a:t>
            </a:r>
            <a:r>
              <a:rPr sz="900" kern="1200" spc="-7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kern="1200" dirty="0">
                <a:solidFill>
                  <a:srgbClr val="FFFFFF"/>
                </a:solidFill>
                <a:latin typeface="Arial"/>
                <a:cs typeface="Arial"/>
              </a:rPr>
              <a:t>Responder</a:t>
            </a:r>
            <a:endParaRPr sz="90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2940859" y="4333181"/>
            <a:ext cx="410248" cy="268941"/>
          </a:xfrm>
          <a:custGeom>
            <a:avLst/>
            <a:gdLst/>
            <a:ahLst/>
            <a:cxnLst/>
            <a:rect l="l" t="t" r="r" b="b"/>
            <a:pathLst>
              <a:path w="338455" h="304800">
                <a:moveTo>
                  <a:pt x="169164" y="304800"/>
                </a:moveTo>
                <a:lnTo>
                  <a:pt x="115872" y="296997"/>
                </a:lnTo>
                <a:lnTo>
                  <a:pt x="69457" y="275295"/>
                </a:lnTo>
                <a:lnTo>
                  <a:pt x="32772" y="242255"/>
                </a:lnTo>
                <a:lnTo>
                  <a:pt x="8668" y="200436"/>
                </a:lnTo>
                <a:lnTo>
                  <a:pt x="0" y="152400"/>
                </a:lnTo>
                <a:lnTo>
                  <a:pt x="8668" y="104363"/>
                </a:lnTo>
                <a:lnTo>
                  <a:pt x="32772" y="62544"/>
                </a:lnTo>
                <a:lnTo>
                  <a:pt x="69457" y="29504"/>
                </a:lnTo>
                <a:lnTo>
                  <a:pt x="115872" y="7802"/>
                </a:lnTo>
                <a:lnTo>
                  <a:pt x="169164" y="0"/>
                </a:lnTo>
                <a:lnTo>
                  <a:pt x="222455" y="7802"/>
                </a:lnTo>
                <a:lnTo>
                  <a:pt x="268870" y="29504"/>
                </a:lnTo>
                <a:lnTo>
                  <a:pt x="305555" y="62544"/>
                </a:lnTo>
                <a:lnTo>
                  <a:pt x="329659" y="104363"/>
                </a:lnTo>
                <a:lnTo>
                  <a:pt x="338328" y="152400"/>
                </a:lnTo>
                <a:lnTo>
                  <a:pt x="329659" y="200436"/>
                </a:lnTo>
                <a:lnTo>
                  <a:pt x="305555" y="242255"/>
                </a:lnTo>
                <a:lnTo>
                  <a:pt x="268870" y="275295"/>
                </a:lnTo>
                <a:lnTo>
                  <a:pt x="222455" y="296997"/>
                </a:lnTo>
                <a:lnTo>
                  <a:pt x="169164" y="30480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2933469" y="4327803"/>
            <a:ext cx="424873" cy="278466"/>
          </a:xfrm>
          <a:custGeom>
            <a:avLst/>
            <a:gdLst/>
            <a:ahLst/>
            <a:cxnLst/>
            <a:rect l="l" t="t" r="r" b="b"/>
            <a:pathLst>
              <a:path w="350519" h="315595">
                <a:moveTo>
                  <a:pt x="193548" y="315467"/>
                </a:moveTo>
                <a:lnTo>
                  <a:pt x="158495" y="315467"/>
                </a:lnTo>
                <a:lnTo>
                  <a:pt x="140208" y="312419"/>
                </a:lnTo>
                <a:lnTo>
                  <a:pt x="92964" y="297179"/>
                </a:lnTo>
                <a:lnTo>
                  <a:pt x="51816" y="269747"/>
                </a:lnTo>
                <a:lnTo>
                  <a:pt x="21336" y="234695"/>
                </a:lnTo>
                <a:lnTo>
                  <a:pt x="15240" y="219455"/>
                </a:lnTo>
                <a:lnTo>
                  <a:pt x="9144" y="205739"/>
                </a:lnTo>
                <a:lnTo>
                  <a:pt x="4572" y="190499"/>
                </a:lnTo>
                <a:lnTo>
                  <a:pt x="1524" y="175259"/>
                </a:lnTo>
                <a:lnTo>
                  <a:pt x="0" y="158495"/>
                </a:lnTo>
                <a:lnTo>
                  <a:pt x="1524" y="141731"/>
                </a:lnTo>
                <a:lnTo>
                  <a:pt x="13716" y="97535"/>
                </a:lnTo>
                <a:lnTo>
                  <a:pt x="41148" y="57911"/>
                </a:lnTo>
                <a:lnTo>
                  <a:pt x="77724" y="27431"/>
                </a:lnTo>
                <a:lnTo>
                  <a:pt x="123444" y="7619"/>
                </a:lnTo>
                <a:lnTo>
                  <a:pt x="175260" y="0"/>
                </a:lnTo>
                <a:lnTo>
                  <a:pt x="193548" y="1523"/>
                </a:lnTo>
                <a:lnTo>
                  <a:pt x="227076" y="7619"/>
                </a:lnTo>
                <a:lnTo>
                  <a:pt x="237236" y="10667"/>
                </a:lnTo>
                <a:lnTo>
                  <a:pt x="175260" y="10667"/>
                </a:lnTo>
                <a:lnTo>
                  <a:pt x="141732" y="13715"/>
                </a:lnTo>
                <a:lnTo>
                  <a:pt x="97536" y="28955"/>
                </a:lnTo>
                <a:lnTo>
                  <a:pt x="59436" y="54863"/>
                </a:lnTo>
                <a:lnTo>
                  <a:pt x="48768" y="64007"/>
                </a:lnTo>
                <a:lnTo>
                  <a:pt x="24384" y="100583"/>
                </a:lnTo>
                <a:lnTo>
                  <a:pt x="12192" y="143255"/>
                </a:lnTo>
                <a:lnTo>
                  <a:pt x="10668" y="158495"/>
                </a:lnTo>
                <a:lnTo>
                  <a:pt x="12192" y="173735"/>
                </a:lnTo>
                <a:lnTo>
                  <a:pt x="30480" y="228599"/>
                </a:lnTo>
                <a:lnTo>
                  <a:pt x="59436" y="262127"/>
                </a:lnTo>
                <a:lnTo>
                  <a:pt x="96012" y="288035"/>
                </a:lnTo>
                <a:lnTo>
                  <a:pt x="141732" y="303275"/>
                </a:lnTo>
                <a:lnTo>
                  <a:pt x="175260" y="306323"/>
                </a:lnTo>
                <a:lnTo>
                  <a:pt x="235458" y="306323"/>
                </a:lnTo>
                <a:lnTo>
                  <a:pt x="227076" y="309371"/>
                </a:lnTo>
                <a:lnTo>
                  <a:pt x="193548" y="315467"/>
                </a:lnTo>
                <a:close/>
              </a:path>
              <a:path w="350519" h="315595">
                <a:moveTo>
                  <a:pt x="235458" y="306323"/>
                </a:moveTo>
                <a:lnTo>
                  <a:pt x="175260" y="306323"/>
                </a:lnTo>
                <a:lnTo>
                  <a:pt x="208788" y="303275"/>
                </a:lnTo>
                <a:lnTo>
                  <a:pt x="239268" y="294131"/>
                </a:lnTo>
                <a:lnTo>
                  <a:pt x="280416" y="271271"/>
                </a:lnTo>
                <a:lnTo>
                  <a:pt x="310895" y="240791"/>
                </a:lnTo>
                <a:lnTo>
                  <a:pt x="332232" y="202691"/>
                </a:lnTo>
                <a:lnTo>
                  <a:pt x="339852" y="158495"/>
                </a:lnTo>
                <a:lnTo>
                  <a:pt x="338328" y="143255"/>
                </a:lnTo>
                <a:lnTo>
                  <a:pt x="336804" y="129539"/>
                </a:lnTo>
                <a:lnTo>
                  <a:pt x="332232" y="114299"/>
                </a:lnTo>
                <a:lnTo>
                  <a:pt x="326136" y="102107"/>
                </a:lnTo>
                <a:lnTo>
                  <a:pt x="320039" y="88391"/>
                </a:lnTo>
                <a:lnTo>
                  <a:pt x="312419" y="76199"/>
                </a:lnTo>
                <a:lnTo>
                  <a:pt x="301752" y="65531"/>
                </a:lnTo>
                <a:lnTo>
                  <a:pt x="292607" y="54863"/>
                </a:lnTo>
                <a:lnTo>
                  <a:pt x="254507" y="28955"/>
                </a:lnTo>
                <a:lnTo>
                  <a:pt x="208788" y="13715"/>
                </a:lnTo>
                <a:lnTo>
                  <a:pt x="175260" y="10667"/>
                </a:lnTo>
                <a:lnTo>
                  <a:pt x="237236" y="10667"/>
                </a:lnTo>
                <a:lnTo>
                  <a:pt x="272795" y="27431"/>
                </a:lnTo>
                <a:lnTo>
                  <a:pt x="320039" y="70103"/>
                </a:lnTo>
                <a:lnTo>
                  <a:pt x="345948" y="126491"/>
                </a:lnTo>
                <a:lnTo>
                  <a:pt x="350520" y="158495"/>
                </a:lnTo>
                <a:lnTo>
                  <a:pt x="348996" y="173735"/>
                </a:lnTo>
                <a:lnTo>
                  <a:pt x="336804" y="219455"/>
                </a:lnTo>
                <a:lnTo>
                  <a:pt x="310895" y="259079"/>
                </a:lnTo>
                <a:lnTo>
                  <a:pt x="272795" y="289559"/>
                </a:lnTo>
                <a:lnTo>
                  <a:pt x="243840" y="303275"/>
                </a:lnTo>
                <a:lnTo>
                  <a:pt x="235458" y="306323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053528" y="4285430"/>
            <a:ext cx="3390515" cy="875881"/>
          </a:xfrm>
          <a:prstGeom prst="rect">
            <a:avLst/>
          </a:prstGeom>
        </p:spPr>
        <p:txBody>
          <a:bodyPr vert="horz" wrap="square" lIns="0" tIns="69850" rIns="0" bIns="0" rtlCol="0">
            <a:spAutoFit/>
          </a:bodyPr>
          <a:lstStyle/>
          <a:p>
            <a:pPr marL="795655" defTabSz="914400" hangingPunct="1">
              <a:spcBef>
                <a:spcPts val="550"/>
              </a:spcBef>
            </a:pPr>
            <a:r>
              <a:rPr sz="1650" b="1" kern="1200" spc="-25" dirty="0">
                <a:solidFill>
                  <a:srgbClr val="FFFFFF"/>
                </a:solidFill>
                <a:latin typeface="Arial"/>
                <a:cs typeface="Arial"/>
              </a:rPr>
              <a:t>AI</a:t>
            </a:r>
            <a:endParaRPr sz="1650" kern="1200">
              <a:solidFill>
                <a:prstClr val="black"/>
              </a:solidFill>
              <a:latin typeface="Arial"/>
              <a:cs typeface="Arial"/>
            </a:endParaRPr>
          </a:p>
          <a:p>
            <a:pPr marL="810895" defTabSz="914400" hangingPunct="1">
              <a:lnSpc>
                <a:spcPts val="2710"/>
              </a:lnSpc>
              <a:spcBef>
                <a:spcPts val="645"/>
              </a:spcBef>
            </a:pPr>
            <a:r>
              <a:rPr sz="2300" b="1" kern="1200" spc="10" dirty="0">
                <a:solidFill>
                  <a:srgbClr val="FF0000"/>
                </a:solidFill>
                <a:latin typeface="Arial"/>
                <a:cs typeface="Arial"/>
              </a:rPr>
              <a:t>S</a:t>
            </a:r>
            <a:r>
              <a:rPr sz="1450" b="1" kern="1200" spc="10" dirty="0">
                <a:solidFill>
                  <a:srgbClr val="FFFFFF"/>
                </a:solidFill>
                <a:latin typeface="Arial"/>
                <a:cs typeface="Arial"/>
              </a:rPr>
              <a:t>urveillance</a:t>
            </a:r>
            <a:endParaRPr sz="1450" kern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 defTabSz="914400" hangingPunct="1">
              <a:lnSpc>
                <a:spcPts val="1030"/>
              </a:lnSpc>
            </a:pPr>
            <a:r>
              <a:rPr sz="900" kern="1200" dirty="0">
                <a:solidFill>
                  <a:srgbClr val="FFFFFF"/>
                </a:solidFill>
                <a:latin typeface="Arial"/>
                <a:cs typeface="Arial"/>
              </a:rPr>
              <a:t>City Surveillance, Road Safety, Border Protection,</a:t>
            </a:r>
            <a:r>
              <a:rPr sz="900" kern="1200" spc="-9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kern="1200" spc="5" dirty="0">
                <a:solidFill>
                  <a:srgbClr val="FFFFFF"/>
                </a:solidFill>
                <a:latin typeface="Arial"/>
                <a:cs typeface="Arial"/>
              </a:rPr>
              <a:t>CIP</a:t>
            </a:r>
            <a:endParaRPr sz="90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7588597" y="4346629"/>
            <a:ext cx="410248" cy="268941"/>
          </a:xfrm>
          <a:custGeom>
            <a:avLst/>
            <a:gdLst/>
            <a:ahLst/>
            <a:cxnLst/>
            <a:rect l="l" t="t" r="r" b="b"/>
            <a:pathLst>
              <a:path w="338454" h="304800">
                <a:moveTo>
                  <a:pt x="169164" y="304800"/>
                </a:moveTo>
                <a:lnTo>
                  <a:pt x="123825" y="299437"/>
                </a:lnTo>
                <a:lnTo>
                  <a:pt x="83312" y="284254"/>
                </a:lnTo>
                <a:lnTo>
                  <a:pt x="49149" y="260604"/>
                </a:lnTo>
                <a:lnTo>
                  <a:pt x="22860" y="229841"/>
                </a:lnTo>
                <a:lnTo>
                  <a:pt x="5969" y="193322"/>
                </a:lnTo>
                <a:lnTo>
                  <a:pt x="0" y="152400"/>
                </a:lnTo>
                <a:lnTo>
                  <a:pt x="5969" y="112006"/>
                </a:lnTo>
                <a:lnTo>
                  <a:pt x="22860" y="75635"/>
                </a:lnTo>
                <a:lnTo>
                  <a:pt x="49149" y="44767"/>
                </a:lnTo>
                <a:lnTo>
                  <a:pt x="83312" y="20884"/>
                </a:lnTo>
                <a:lnTo>
                  <a:pt x="123825" y="5468"/>
                </a:lnTo>
                <a:lnTo>
                  <a:pt x="169164" y="0"/>
                </a:lnTo>
                <a:lnTo>
                  <a:pt x="222455" y="7802"/>
                </a:lnTo>
                <a:lnTo>
                  <a:pt x="268870" y="29504"/>
                </a:lnTo>
                <a:lnTo>
                  <a:pt x="305555" y="62544"/>
                </a:lnTo>
                <a:lnTo>
                  <a:pt x="329659" y="104363"/>
                </a:lnTo>
                <a:lnTo>
                  <a:pt x="338328" y="152400"/>
                </a:lnTo>
                <a:lnTo>
                  <a:pt x="332253" y="193322"/>
                </a:lnTo>
                <a:lnTo>
                  <a:pt x="315129" y="229841"/>
                </a:lnTo>
                <a:lnTo>
                  <a:pt x="288607" y="260604"/>
                </a:lnTo>
                <a:lnTo>
                  <a:pt x="254338" y="284254"/>
                </a:lnTo>
                <a:lnTo>
                  <a:pt x="213973" y="299437"/>
                </a:lnTo>
                <a:lnTo>
                  <a:pt x="169164" y="30480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7581207" y="4342597"/>
            <a:ext cx="423333" cy="278466"/>
          </a:xfrm>
          <a:custGeom>
            <a:avLst/>
            <a:gdLst/>
            <a:ahLst/>
            <a:cxnLst/>
            <a:rect l="l" t="t" r="r" b="b"/>
            <a:pathLst>
              <a:path w="349250" h="315595">
                <a:moveTo>
                  <a:pt x="175260" y="315467"/>
                </a:moveTo>
                <a:lnTo>
                  <a:pt x="106680" y="303276"/>
                </a:lnTo>
                <a:lnTo>
                  <a:pt x="64008" y="278892"/>
                </a:lnTo>
                <a:lnTo>
                  <a:pt x="30480" y="245364"/>
                </a:lnTo>
                <a:lnTo>
                  <a:pt x="7620" y="204216"/>
                </a:lnTo>
                <a:lnTo>
                  <a:pt x="0" y="156972"/>
                </a:lnTo>
                <a:lnTo>
                  <a:pt x="3048" y="126492"/>
                </a:lnTo>
                <a:lnTo>
                  <a:pt x="21336" y="82296"/>
                </a:lnTo>
                <a:lnTo>
                  <a:pt x="64008" y="35052"/>
                </a:lnTo>
                <a:lnTo>
                  <a:pt x="106680" y="12192"/>
                </a:lnTo>
                <a:lnTo>
                  <a:pt x="156972" y="0"/>
                </a:lnTo>
                <a:lnTo>
                  <a:pt x="192024" y="0"/>
                </a:lnTo>
                <a:lnTo>
                  <a:pt x="210312" y="3048"/>
                </a:lnTo>
                <a:lnTo>
                  <a:pt x="227076" y="6096"/>
                </a:lnTo>
                <a:lnTo>
                  <a:pt x="238506" y="10668"/>
                </a:lnTo>
                <a:lnTo>
                  <a:pt x="158495" y="10668"/>
                </a:lnTo>
                <a:lnTo>
                  <a:pt x="141732" y="13716"/>
                </a:lnTo>
                <a:lnTo>
                  <a:pt x="96012" y="27432"/>
                </a:lnTo>
                <a:lnTo>
                  <a:pt x="59436" y="53340"/>
                </a:lnTo>
                <a:lnTo>
                  <a:pt x="30480" y="86868"/>
                </a:lnTo>
                <a:lnTo>
                  <a:pt x="24384" y="100584"/>
                </a:lnTo>
                <a:lnTo>
                  <a:pt x="18288" y="112776"/>
                </a:lnTo>
                <a:lnTo>
                  <a:pt x="13716" y="128016"/>
                </a:lnTo>
                <a:lnTo>
                  <a:pt x="12192" y="141732"/>
                </a:lnTo>
                <a:lnTo>
                  <a:pt x="10668" y="156972"/>
                </a:lnTo>
                <a:lnTo>
                  <a:pt x="13716" y="187452"/>
                </a:lnTo>
                <a:lnTo>
                  <a:pt x="38100" y="239268"/>
                </a:lnTo>
                <a:lnTo>
                  <a:pt x="70104" y="271272"/>
                </a:lnTo>
                <a:lnTo>
                  <a:pt x="111252" y="292608"/>
                </a:lnTo>
                <a:lnTo>
                  <a:pt x="124968" y="298704"/>
                </a:lnTo>
                <a:lnTo>
                  <a:pt x="141732" y="301752"/>
                </a:lnTo>
                <a:lnTo>
                  <a:pt x="175260" y="304800"/>
                </a:lnTo>
                <a:lnTo>
                  <a:pt x="237236" y="304800"/>
                </a:lnTo>
                <a:lnTo>
                  <a:pt x="227076" y="307848"/>
                </a:lnTo>
                <a:lnTo>
                  <a:pt x="210312" y="312420"/>
                </a:lnTo>
                <a:lnTo>
                  <a:pt x="175260" y="315467"/>
                </a:lnTo>
                <a:close/>
              </a:path>
              <a:path w="349250" h="315595">
                <a:moveTo>
                  <a:pt x="237236" y="304800"/>
                </a:moveTo>
                <a:lnTo>
                  <a:pt x="175260" y="304800"/>
                </a:lnTo>
                <a:lnTo>
                  <a:pt x="207264" y="301752"/>
                </a:lnTo>
                <a:lnTo>
                  <a:pt x="224028" y="298704"/>
                </a:lnTo>
                <a:lnTo>
                  <a:pt x="266700" y="278892"/>
                </a:lnTo>
                <a:lnTo>
                  <a:pt x="301752" y="251460"/>
                </a:lnTo>
                <a:lnTo>
                  <a:pt x="326136" y="214884"/>
                </a:lnTo>
                <a:lnTo>
                  <a:pt x="338328" y="172212"/>
                </a:lnTo>
                <a:lnTo>
                  <a:pt x="339852" y="156972"/>
                </a:lnTo>
                <a:lnTo>
                  <a:pt x="338328" y="143256"/>
                </a:lnTo>
                <a:lnTo>
                  <a:pt x="326136" y="100584"/>
                </a:lnTo>
                <a:lnTo>
                  <a:pt x="301752" y="64008"/>
                </a:lnTo>
                <a:lnTo>
                  <a:pt x="266700" y="35052"/>
                </a:lnTo>
                <a:lnTo>
                  <a:pt x="224028" y="16764"/>
                </a:lnTo>
                <a:lnTo>
                  <a:pt x="192024" y="10668"/>
                </a:lnTo>
                <a:lnTo>
                  <a:pt x="238506" y="10668"/>
                </a:lnTo>
                <a:lnTo>
                  <a:pt x="284988" y="35052"/>
                </a:lnTo>
                <a:lnTo>
                  <a:pt x="320039" y="68580"/>
                </a:lnTo>
                <a:lnTo>
                  <a:pt x="341376" y="109728"/>
                </a:lnTo>
                <a:lnTo>
                  <a:pt x="348996" y="140208"/>
                </a:lnTo>
                <a:lnTo>
                  <a:pt x="348996" y="173736"/>
                </a:lnTo>
                <a:lnTo>
                  <a:pt x="335280" y="219456"/>
                </a:lnTo>
                <a:lnTo>
                  <a:pt x="309372" y="257556"/>
                </a:lnTo>
                <a:lnTo>
                  <a:pt x="272795" y="288036"/>
                </a:lnTo>
                <a:lnTo>
                  <a:pt x="242316" y="303276"/>
                </a:lnTo>
                <a:lnTo>
                  <a:pt x="237236" y="30480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6294802" y="4308396"/>
            <a:ext cx="4281055" cy="864980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1129665" defTabSz="914400" hangingPunct="1">
              <a:spcBef>
                <a:spcPts val="465"/>
              </a:spcBef>
            </a:pPr>
            <a:r>
              <a:rPr sz="1650" b="1" kern="1200" spc="-25" dirty="0">
                <a:solidFill>
                  <a:srgbClr val="FFFFFF"/>
                </a:solidFill>
                <a:latin typeface="Arial"/>
                <a:cs typeface="Arial"/>
              </a:rPr>
              <a:t>AI</a:t>
            </a:r>
            <a:endParaRPr sz="1650" kern="1200">
              <a:solidFill>
                <a:prstClr val="black"/>
              </a:solidFill>
              <a:latin typeface="Arial"/>
              <a:cs typeface="Arial"/>
            </a:endParaRPr>
          </a:p>
          <a:p>
            <a:pPr algn="ctr" defTabSz="914400" hangingPunct="1">
              <a:lnSpc>
                <a:spcPts val="2735"/>
              </a:lnSpc>
              <a:spcBef>
                <a:spcPts val="525"/>
              </a:spcBef>
            </a:pPr>
            <a:r>
              <a:rPr sz="2300" b="1" kern="1200" spc="15" dirty="0">
                <a:solidFill>
                  <a:srgbClr val="FF0000"/>
                </a:solidFill>
                <a:latin typeface="Arial"/>
                <a:cs typeface="Arial"/>
              </a:rPr>
              <a:t>C</a:t>
            </a:r>
            <a:r>
              <a:rPr sz="1450" b="1" kern="1200" spc="15" dirty="0">
                <a:solidFill>
                  <a:srgbClr val="FFFFFF"/>
                </a:solidFill>
                <a:latin typeface="Arial"/>
                <a:cs typeface="Arial"/>
              </a:rPr>
              <a:t>ommunication</a:t>
            </a:r>
            <a:endParaRPr sz="1450" kern="1200">
              <a:solidFill>
                <a:prstClr val="black"/>
              </a:solidFill>
              <a:latin typeface="Arial"/>
              <a:cs typeface="Arial"/>
            </a:endParaRPr>
          </a:p>
          <a:p>
            <a:pPr algn="ctr" defTabSz="914400" hangingPunct="1">
              <a:lnSpc>
                <a:spcPts val="1055"/>
              </a:lnSpc>
            </a:pPr>
            <a:r>
              <a:rPr sz="900" kern="1200" spc="5" dirty="0">
                <a:solidFill>
                  <a:srgbClr val="FFFFFF"/>
                </a:solidFill>
                <a:latin typeface="Arial"/>
                <a:cs typeface="Arial"/>
              </a:rPr>
              <a:t>MC LTE, </a:t>
            </a:r>
            <a:r>
              <a:rPr sz="900" kern="1200" spc="-5" dirty="0">
                <a:solidFill>
                  <a:srgbClr val="FFFFFF"/>
                </a:solidFill>
                <a:latin typeface="Arial"/>
                <a:cs typeface="Arial"/>
              </a:rPr>
              <a:t>Integrated </a:t>
            </a:r>
            <a:r>
              <a:rPr sz="900" kern="1200" dirty="0">
                <a:solidFill>
                  <a:srgbClr val="FFFFFF"/>
                </a:solidFill>
                <a:latin typeface="Arial"/>
                <a:cs typeface="Arial"/>
              </a:rPr>
              <a:t>Communication Platform, Agile </a:t>
            </a:r>
            <a:r>
              <a:rPr sz="900" kern="1200" spc="-5" dirty="0">
                <a:solidFill>
                  <a:srgbClr val="FFFFFF"/>
                </a:solidFill>
                <a:latin typeface="Arial"/>
                <a:cs typeface="Arial"/>
              </a:rPr>
              <a:t>network, </a:t>
            </a:r>
            <a:r>
              <a:rPr sz="900" kern="1200" spc="5" dirty="0">
                <a:solidFill>
                  <a:srgbClr val="FFFFFF"/>
                </a:solidFill>
                <a:latin typeface="Arial"/>
                <a:cs typeface="Arial"/>
              </a:rPr>
              <a:t>VC,</a:t>
            </a:r>
            <a:r>
              <a:rPr sz="900" kern="1200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kern="1200" spc="5" dirty="0">
                <a:solidFill>
                  <a:srgbClr val="FFFFFF"/>
                </a:solidFill>
                <a:latin typeface="Arial"/>
                <a:cs typeface="Arial"/>
              </a:rPr>
              <a:t>UC</a:t>
            </a:r>
            <a:endParaRPr sz="90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4160057" y="5227411"/>
            <a:ext cx="412558" cy="270622"/>
          </a:xfrm>
          <a:custGeom>
            <a:avLst/>
            <a:gdLst/>
            <a:ahLst/>
            <a:cxnLst/>
            <a:rect l="l" t="t" r="r" b="b"/>
            <a:pathLst>
              <a:path w="340360" h="306704">
                <a:moveTo>
                  <a:pt x="169164" y="306324"/>
                </a:moveTo>
                <a:lnTo>
                  <a:pt x="115872" y="298521"/>
                </a:lnTo>
                <a:lnTo>
                  <a:pt x="69457" y="276819"/>
                </a:lnTo>
                <a:lnTo>
                  <a:pt x="32772" y="243779"/>
                </a:lnTo>
                <a:lnTo>
                  <a:pt x="8668" y="201960"/>
                </a:lnTo>
                <a:lnTo>
                  <a:pt x="0" y="153924"/>
                </a:lnTo>
                <a:lnTo>
                  <a:pt x="6074" y="112888"/>
                </a:lnTo>
                <a:lnTo>
                  <a:pt x="23198" y="76087"/>
                </a:lnTo>
                <a:lnTo>
                  <a:pt x="49720" y="44958"/>
                </a:lnTo>
                <a:lnTo>
                  <a:pt x="83989" y="20940"/>
                </a:lnTo>
                <a:lnTo>
                  <a:pt x="124354" y="5475"/>
                </a:lnTo>
                <a:lnTo>
                  <a:pt x="169164" y="0"/>
                </a:lnTo>
                <a:lnTo>
                  <a:pt x="214615" y="5475"/>
                </a:lnTo>
                <a:lnTo>
                  <a:pt x="255411" y="20940"/>
                </a:lnTo>
                <a:lnTo>
                  <a:pt x="289941" y="44958"/>
                </a:lnTo>
                <a:lnTo>
                  <a:pt x="316596" y="76087"/>
                </a:lnTo>
                <a:lnTo>
                  <a:pt x="333770" y="112888"/>
                </a:lnTo>
                <a:lnTo>
                  <a:pt x="339852" y="153924"/>
                </a:lnTo>
                <a:lnTo>
                  <a:pt x="333770" y="194317"/>
                </a:lnTo>
                <a:lnTo>
                  <a:pt x="316596" y="230688"/>
                </a:lnTo>
                <a:lnTo>
                  <a:pt x="289941" y="261556"/>
                </a:lnTo>
                <a:lnTo>
                  <a:pt x="255411" y="285439"/>
                </a:lnTo>
                <a:lnTo>
                  <a:pt x="214615" y="300855"/>
                </a:lnTo>
                <a:lnTo>
                  <a:pt x="169164" y="306324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4154518" y="5223377"/>
            <a:ext cx="423333" cy="278466"/>
          </a:xfrm>
          <a:custGeom>
            <a:avLst/>
            <a:gdLst/>
            <a:ahLst/>
            <a:cxnLst/>
            <a:rect l="l" t="t" r="r" b="b"/>
            <a:pathLst>
              <a:path w="349250" h="315595">
                <a:moveTo>
                  <a:pt x="192024" y="315467"/>
                </a:moveTo>
                <a:lnTo>
                  <a:pt x="156972" y="315467"/>
                </a:lnTo>
                <a:lnTo>
                  <a:pt x="140208" y="312419"/>
                </a:lnTo>
                <a:lnTo>
                  <a:pt x="91440" y="297179"/>
                </a:lnTo>
                <a:lnTo>
                  <a:pt x="39624" y="259079"/>
                </a:lnTo>
                <a:lnTo>
                  <a:pt x="13716" y="219455"/>
                </a:lnTo>
                <a:lnTo>
                  <a:pt x="0" y="173735"/>
                </a:lnTo>
                <a:lnTo>
                  <a:pt x="0" y="141731"/>
                </a:lnTo>
                <a:lnTo>
                  <a:pt x="13716" y="96011"/>
                </a:lnTo>
                <a:lnTo>
                  <a:pt x="50292" y="45719"/>
                </a:lnTo>
                <a:lnTo>
                  <a:pt x="64008" y="36575"/>
                </a:lnTo>
                <a:lnTo>
                  <a:pt x="76200" y="27431"/>
                </a:lnTo>
                <a:lnTo>
                  <a:pt x="106680" y="12191"/>
                </a:lnTo>
                <a:lnTo>
                  <a:pt x="121920" y="7619"/>
                </a:lnTo>
                <a:lnTo>
                  <a:pt x="138684" y="3047"/>
                </a:lnTo>
                <a:lnTo>
                  <a:pt x="173736" y="0"/>
                </a:lnTo>
                <a:lnTo>
                  <a:pt x="208788" y="3047"/>
                </a:lnTo>
                <a:lnTo>
                  <a:pt x="236728" y="10667"/>
                </a:lnTo>
                <a:lnTo>
                  <a:pt x="156972" y="10667"/>
                </a:lnTo>
                <a:lnTo>
                  <a:pt x="141732" y="13715"/>
                </a:lnTo>
                <a:lnTo>
                  <a:pt x="82296" y="35051"/>
                </a:lnTo>
                <a:lnTo>
                  <a:pt x="47244" y="64007"/>
                </a:lnTo>
                <a:lnTo>
                  <a:pt x="22860" y="100583"/>
                </a:lnTo>
                <a:lnTo>
                  <a:pt x="10668" y="141731"/>
                </a:lnTo>
                <a:lnTo>
                  <a:pt x="10668" y="172211"/>
                </a:lnTo>
                <a:lnTo>
                  <a:pt x="22860" y="214883"/>
                </a:lnTo>
                <a:lnTo>
                  <a:pt x="47244" y="251459"/>
                </a:lnTo>
                <a:lnTo>
                  <a:pt x="82296" y="280415"/>
                </a:lnTo>
                <a:lnTo>
                  <a:pt x="124968" y="298703"/>
                </a:lnTo>
                <a:lnTo>
                  <a:pt x="156972" y="304799"/>
                </a:lnTo>
                <a:lnTo>
                  <a:pt x="237236" y="304799"/>
                </a:lnTo>
                <a:lnTo>
                  <a:pt x="227076" y="307847"/>
                </a:lnTo>
                <a:lnTo>
                  <a:pt x="210312" y="312419"/>
                </a:lnTo>
                <a:lnTo>
                  <a:pt x="192024" y="315467"/>
                </a:lnTo>
                <a:close/>
              </a:path>
              <a:path w="349250" h="315595">
                <a:moveTo>
                  <a:pt x="237236" y="304799"/>
                </a:moveTo>
                <a:lnTo>
                  <a:pt x="190500" y="304799"/>
                </a:lnTo>
                <a:lnTo>
                  <a:pt x="207264" y="301751"/>
                </a:lnTo>
                <a:lnTo>
                  <a:pt x="222504" y="298703"/>
                </a:lnTo>
                <a:lnTo>
                  <a:pt x="266700" y="280415"/>
                </a:lnTo>
                <a:lnTo>
                  <a:pt x="301752" y="251459"/>
                </a:lnTo>
                <a:lnTo>
                  <a:pt x="326136" y="214883"/>
                </a:lnTo>
                <a:lnTo>
                  <a:pt x="338328" y="173735"/>
                </a:lnTo>
                <a:lnTo>
                  <a:pt x="338328" y="143255"/>
                </a:lnTo>
                <a:lnTo>
                  <a:pt x="326136" y="100583"/>
                </a:lnTo>
                <a:lnTo>
                  <a:pt x="301752" y="64007"/>
                </a:lnTo>
                <a:lnTo>
                  <a:pt x="266700" y="36575"/>
                </a:lnTo>
                <a:lnTo>
                  <a:pt x="224028" y="16763"/>
                </a:lnTo>
                <a:lnTo>
                  <a:pt x="207264" y="13715"/>
                </a:lnTo>
                <a:lnTo>
                  <a:pt x="192024" y="10667"/>
                </a:lnTo>
                <a:lnTo>
                  <a:pt x="236728" y="10667"/>
                </a:lnTo>
                <a:lnTo>
                  <a:pt x="242316" y="12191"/>
                </a:lnTo>
                <a:lnTo>
                  <a:pt x="284988" y="36575"/>
                </a:lnTo>
                <a:lnTo>
                  <a:pt x="318515" y="68579"/>
                </a:lnTo>
                <a:lnTo>
                  <a:pt x="341376" y="111251"/>
                </a:lnTo>
                <a:lnTo>
                  <a:pt x="347472" y="141731"/>
                </a:lnTo>
                <a:lnTo>
                  <a:pt x="348996" y="156971"/>
                </a:lnTo>
                <a:lnTo>
                  <a:pt x="341376" y="204215"/>
                </a:lnTo>
                <a:lnTo>
                  <a:pt x="309372" y="257555"/>
                </a:lnTo>
                <a:lnTo>
                  <a:pt x="272795" y="288035"/>
                </a:lnTo>
                <a:lnTo>
                  <a:pt x="242316" y="303275"/>
                </a:lnTo>
                <a:lnTo>
                  <a:pt x="237236" y="304799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9847204" y="2727135"/>
            <a:ext cx="413327" cy="18979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defTabSz="914400" hangingPunct="1">
              <a:spcBef>
                <a:spcPts val="100"/>
              </a:spcBef>
            </a:pP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E</a:t>
            </a:r>
            <a:r>
              <a:rPr sz="1150" b="1" kern="1200" spc="-15" dirty="0">
                <a:solidFill>
                  <a:srgbClr val="1C1C1A"/>
                </a:solidFill>
                <a:latin typeface="Arial"/>
                <a:cs typeface="Arial"/>
              </a:rPr>
              <a:t>M</a:t>
            </a: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S</a:t>
            </a:r>
            <a:endParaRPr sz="115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11009091" y="5373508"/>
            <a:ext cx="357139" cy="18979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defTabSz="914400" hangingPunct="1">
              <a:spcBef>
                <a:spcPts val="100"/>
              </a:spcBef>
            </a:pPr>
            <a:r>
              <a:rPr sz="1150" b="1" kern="1200" spc="-5" dirty="0">
                <a:solidFill>
                  <a:srgbClr val="1C1C1A"/>
                </a:solidFill>
                <a:latin typeface="Arial"/>
                <a:cs typeface="Arial"/>
              </a:rPr>
              <a:t>F</a:t>
            </a:r>
            <a:r>
              <a:rPr sz="1150" b="1" kern="1200" spc="10" dirty="0">
                <a:solidFill>
                  <a:srgbClr val="1C1C1A"/>
                </a:solidFill>
                <a:latin typeface="Arial"/>
                <a:cs typeface="Arial"/>
              </a:rPr>
              <a:t>i</a:t>
            </a:r>
            <a:r>
              <a:rPr sz="1150" b="1" kern="1200" spc="-15" dirty="0">
                <a:solidFill>
                  <a:srgbClr val="1C1C1A"/>
                </a:solidFill>
                <a:latin typeface="Arial"/>
                <a:cs typeface="Arial"/>
              </a:rPr>
              <a:t>r</a:t>
            </a: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e</a:t>
            </a:r>
            <a:endParaRPr sz="115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7988801" y="5612915"/>
            <a:ext cx="565727" cy="18979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defTabSz="914400" hangingPunct="1">
              <a:spcBef>
                <a:spcPts val="100"/>
              </a:spcBef>
            </a:pP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P</a:t>
            </a:r>
            <a:r>
              <a:rPr sz="1150" b="1" kern="1200" spc="-5" dirty="0">
                <a:solidFill>
                  <a:srgbClr val="1C1C1A"/>
                </a:solidFill>
                <a:latin typeface="Arial"/>
                <a:cs typeface="Arial"/>
              </a:rPr>
              <a:t>u</a:t>
            </a:r>
            <a:r>
              <a:rPr sz="1150" b="1" kern="1200" spc="10" dirty="0">
                <a:solidFill>
                  <a:srgbClr val="1C1C1A"/>
                </a:solidFill>
                <a:latin typeface="Arial"/>
                <a:cs typeface="Arial"/>
              </a:rPr>
              <a:t>b</a:t>
            </a: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lic</a:t>
            </a:r>
            <a:endParaRPr sz="115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3863880" y="5231053"/>
            <a:ext cx="637309" cy="63543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07975" defTabSz="914400" hangingPunct="1">
              <a:spcBef>
                <a:spcPts val="95"/>
              </a:spcBef>
            </a:pPr>
            <a:r>
              <a:rPr sz="1650" b="1" kern="1200" spc="-45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650" b="1" kern="1200" spc="-5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endParaRPr sz="1650" kern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 defTabSz="914400" hangingPunct="1">
              <a:spcBef>
                <a:spcPts val="1480"/>
              </a:spcBef>
            </a:pP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Police</a:t>
            </a:r>
            <a:endParaRPr sz="115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180388" y="5124803"/>
            <a:ext cx="560339" cy="18979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defTabSz="914400" hangingPunct="1">
              <a:spcBef>
                <a:spcPts val="100"/>
              </a:spcBef>
            </a:pPr>
            <a:r>
              <a:rPr sz="1150" b="1" kern="1200" spc="-85" dirty="0">
                <a:solidFill>
                  <a:srgbClr val="1C1C1A"/>
                </a:solidFill>
                <a:latin typeface="Arial"/>
                <a:cs typeface="Arial"/>
              </a:rPr>
              <a:t>T</a:t>
            </a: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r</a:t>
            </a:r>
            <a:r>
              <a:rPr sz="1150" b="1" kern="1200" spc="-10" dirty="0">
                <a:solidFill>
                  <a:srgbClr val="1C1C1A"/>
                </a:solidFill>
                <a:latin typeface="Arial"/>
                <a:cs typeface="Arial"/>
              </a:rPr>
              <a:t>a</a:t>
            </a:r>
            <a:r>
              <a:rPr sz="1150" b="1" kern="1200" spc="-5" dirty="0">
                <a:solidFill>
                  <a:srgbClr val="1C1C1A"/>
                </a:solidFill>
                <a:latin typeface="Arial"/>
                <a:cs typeface="Arial"/>
              </a:rPr>
              <a:t>f</a:t>
            </a:r>
            <a:r>
              <a:rPr sz="1150" b="1" kern="1200" spc="5" dirty="0">
                <a:solidFill>
                  <a:srgbClr val="1C1C1A"/>
                </a:solidFill>
                <a:latin typeface="Arial"/>
                <a:cs typeface="Arial"/>
              </a:rPr>
              <a:t>f</a:t>
            </a: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ic</a:t>
            </a:r>
            <a:endParaRPr sz="115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1700750" y="2610145"/>
            <a:ext cx="731212" cy="348813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12700" marR="5080" indent="66675" defTabSz="914400" hangingPunct="1">
              <a:lnSpc>
                <a:spcPts val="1160"/>
              </a:lnSpc>
              <a:spcBef>
                <a:spcPts val="320"/>
              </a:spcBef>
            </a:pP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Public  S</a:t>
            </a:r>
            <a:r>
              <a:rPr sz="1150" b="1" kern="1200" spc="-10" dirty="0">
                <a:solidFill>
                  <a:srgbClr val="1C1C1A"/>
                </a:solidFill>
                <a:latin typeface="Arial"/>
                <a:cs typeface="Arial"/>
              </a:rPr>
              <a:t>ec</a:t>
            </a:r>
            <a:r>
              <a:rPr sz="1150" b="1" kern="1200" spc="10" dirty="0">
                <a:solidFill>
                  <a:srgbClr val="1C1C1A"/>
                </a:solidFill>
                <a:latin typeface="Arial"/>
                <a:cs typeface="Arial"/>
              </a:rPr>
              <a:t>u</a:t>
            </a:r>
            <a:r>
              <a:rPr sz="1150" b="1" kern="1200" spc="-15" dirty="0">
                <a:solidFill>
                  <a:srgbClr val="1C1C1A"/>
                </a:solidFill>
                <a:latin typeface="Arial"/>
                <a:cs typeface="Arial"/>
              </a:rPr>
              <a:t>r</a:t>
            </a: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i</a:t>
            </a:r>
            <a:r>
              <a:rPr sz="1150" b="1" kern="1200" spc="5" dirty="0">
                <a:solidFill>
                  <a:srgbClr val="1C1C1A"/>
                </a:solidFill>
                <a:latin typeface="Arial"/>
                <a:cs typeface="Arial"/>
              </a:rPr>
              <a:t>t</a:t>
            </a: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y</a:t>
            </a:r>
            <a:endParaRPr sz="115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422410" y="3234111"/>
            <a:ext cx="888230" cy="487569"/>
          </a:xfrm>
          <a:prstGeom prst="rect">
            <a:avLst/>
          </a:prstGeom>
        </p:spPr>
        <p:txBody>
          <a:bodyPr vert="horz" wrap="square" lIns="0" tIns="41275" rIns="0" bIns="0" rtlCol="0">
            <a:spAutoFit/>
          </a:bodyPr>
          <a:lstStyle/>
          <a:p>
            <a:pPr marL="12700" marR="5080" indent="36195" algn="just" defTabSz="914400" hangingPunct="1">
              <a:lnSpc>
                <a:spcPct val="83900"/>
              </a:lnSpc>
              <a:spcBef>
                <a:spcPts val="325"/>
              </a:spcBef>
            </a:pPr>
            <a:r>
              <a:rPr sz="1150" b="1" kern="1200" spc="-5" dirty="0">
                <a:solidFill>
                  <a:srgbClr val="1C1C1A"/>
                </a:solidFill>
                <a:latin typeface="Arial"/>
                <a:cs typeface="Arial"/>
              </a:rPr>
              <a:t>Airport </a:t>
            </a: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&amp;  </a:t>
            </a:r>
            <a:r>
              <a:rPr sz="1150" b="1" kern="1200" spc="-5" dirty="0">
                <a:solidFill>
                  <a:srgbClr val="1C1C1A"/>
                </a:solidFill>
                <a:latin typeface="Arial"/>
                <a:cs typeface="Arial"/>
              </a:rPr>
              <a:t>Borders</a:t>
            </a:r>
            <a:r>
              <a:rPr sz="1150" b="1" kern="1200" spc="-75" dirty="0">
                <a:solidFill>
                  <a:srgbClr val="1C1C1A"/>
                </a:solidFill>
                <a:latin typeface="Arial"/>
                <a:cs typeface="Arial"/>
              </a:rPr>
              <a:t> </a:t>
            </a: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&amp;  </a:t>
            </a:r>
            <a:r>
              <a:rPr sz="1150" b="1" kern="1200" spc="-5" dirty="0">
                <a:solidFill>
                  <a:srgbClr val="1C1C1A"/>
                </a:solidFill>
                <a:latin typeface="Arial"/>
                <a:cs typeface="Arial"/>
              </a:rPr>
              <a:t>Prisons</a:t>
            </a:r>
            <a:endParaRPr sz="115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10748615" y="3320150"/>
            <a:ext cx="889000" cy="34624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2384" algn="ctr" defTabSz="914400" hangingPunct="1">
              <a:lnSpc>
                <a:spcPts val="1270"/>
              </a:lnSpc>
              <a:spcBef>
                <a:spcPts val="100"/>
              </a:spcBef>
            </a:pPr>
            <a:r>
              <a:rPr sz="1150" b="1" kern="1200" spc="-5" dirty="0">
                <a:solidFill>
                  <a:srgbClr val="1C1C1A"/>
                </a:solidFill>
                <a:latin typeface="Arial"/>
                <a:cs typeface="Arial"/>
              </a:rPr>
              <a:t>CID</a:t>
            </a:r>
            <a:r>
              <a:rPr sz="1150" b="1" kern="1200" spc="-10" dirty="0">
                <a:solidFill>
                  <a:srgbClr val="1C1C1A"/>
                </a:solidFill>
                <a:latin typeface="Arial"/>
                <a:cs typeface="Arial"/>
              </a:rPr>
              <a:t> </a:t>
            </a: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/</a:t>
            </a:r>
            <a:endParaRPr sz="1150" kern="1200">
              <a:solidFill>
                <a:prstClr val="black"/>
              </a:solidFill>
              <a:latin typeface="Arial"/>
              <a:cs typeface="Arial"/>
            </a:endParaRPr>
          </a:p>
          <a:p>
            <a:pPr algn="ctr" defTabSz="914400" hangingPunct="1">
              <a:lnSpc>
                <a:spcPts val="1270"/>
              </a:lnSpc>
            </a:pPr>
            <a:r>
              <a:rPr sz="1150" b="1" kern="1200" dirty="0">
                <a:solidFill>
                  <a:srgbClr val="1C1C1A"/>
                </a:solidFill>
                <a:latin typeface="Arial"/>
                <a:cs typeface="Arial"/>
              </a:rPr>
              <a:t>Sp</a:t>
            </a:r>
            <a:r>
              <a:rPr sz="1150" b="1" kern="1200" spc="-60" dirty="0">
                <a:solidFill>
                  <a:srgbClr val="1C1C1A"/>
                </a:solidFill>
                <a:latin typeface="Arial"/>
                <a:cs typeface="Arial"/>
              </a:rPr>
              <a:t> </a:t>
            </a:r>
            <a:r>
              <a:rPr sz="1150" b="1" kern="1200" spc="-5" dirty="0">
                <a:solidFill>
                  <a:srgbClr val="1C1C1A"/>
                </a:solidFill>
                <a:latin typeface="Arial"/>
                <a:cs typeface="Arial"/>
              </a:rPr>
              <a:t>Forces</a:t>
            </a:r>
            <a:endParaRPr sz="115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3275213" y="3436264"/>
            <a:ext cx="412558" cy="268941"/>
          </a:xfrm>
          <a:custGeom>
            <a:avLst/>
            <a:gdLst/>
            <a:ahLst/>
            <a:cxnLst/>
            <a:rect l="l" t="t" r="r" b="b"/>
            <a:pathLst>
              <a:path w="340360" h="304800">
                <a:moveTo>
                  <a:pt x="169164" y="304800"/>
                </a:moveTo>
                <a:lnTo>
                  <a:pt x="124354" y="299437"/>
                </a:lnTo>
                <a:lnTo>
                  <a:pt x="83989" y="284254"/>
                </a:lnTo>
                <a:lnTo>
                  <a:pt x="49720" y="260604"/>
                </a:lnTo>
                <a:lnTo>
                  <a:pt x="23198" y="229841"/>
                </a:lnTo>
                <a:lnTo>
                  <a:pt x="6074" y="193322"/>
                </a:lnTo>
                <a:lnTo>
                  <a:pt x="0" y="152400"/>
                </a:lnTo>
                <a:lnTo>
                  <a:pt x="8668" y="104363"/>
                </a:lnTo>
                <a:lnTo>
                  <a:pt x="32772" y="62544"/>
                </a:lnTo>
                <a:lnTo>
                  <a:pt x="69457" y="29504"/>
                </a:lnTo>
                <a:lnTo>
                  <a:pt x="115872" y="7802"/>
                </a:lnTo>
                <a:lnTo>
                  <a:pt x="169164" y="0"/>
                </a:lnTo>
                <a:lnTo>
                  <a:pt x="214615" y="5468"/>
                </a:lnTo>
                <a:lnTo>
                  <a:pt x="255411" y="20884"/>
                </a:lnTo>
                <a:lnTo>
                  <a:pt x="289941" y="44767"/>
                </a:lnTo>
                <a:lnTo>
                  <a:pt x="316596" y="75635"/>
                </a:lnTo>
                <a:lnTo>
                  <a:pt x="333770" y="112006"/>
                </a:lnTo>
                <a:lnTo>
                  <a:pt x="339852" y="152400"/>
                </a:lnTo>
                <a:lnTo>
                  <a:pt x="333770" y="193322"/>
                </a:lnTo>
                <a:lnTo>
                  <a:pt x="316596" y="229841"/>
                </a:lnTo>
                <a:lnTo>
                  <a:pt x="289941" y="260604"/>
                </a:lnTo>
                <a:lnTo>
                  <a:pt x="255411" y="284254"/>
                </a:lnTo>
                <a:lnTo>
                  <a:pt x="214615" y="299437"/>
                </a:lnTo>
                <a:lnTo>
                  <a:pt x="169164" y="30480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3269674" y="3432230"/>
            <a:ext cx="423333" cy="278466"/>
          </a:xfrm>
          <a:custGeom>
            <a:avLst/>
            <a:gdLst/>
            <a:ahLst/>
            <a:cxnLst/>
            <a:rect l="l" t="t" r="r" b="b"/>
            <a:pathLst>
              <a:path w="349250" h="315595">
                <a:moveTo>
                  <a:pt x="175260" y="315467"/>
                </a:moveTo>
                <a:lnTo>
                  <a:pt x="106680" y="303275"/>
                </a:lnTo>
                <a:lnTo>
                  <a:pt x="64008" y="278891"/>
                </a:lnTo>
                <a:lnTo>
                  <a:pt x="21336" y="233171"/>
                </a:lnTo>
                <a:lnTo>
                  <a:pt x="3048" y="188975"/>
                </a:lnTo>
                <a:lnTo>
                  <a:pt x="0" y="173735"/>
                </a:lnTo>
                <a:lnTo>
                  <a:pt x="0" y="141731"/>
                </a:lnTo>
                <a:lnTo>
                  <a:pt x="13716" y="96011"/>
                </a:lnTo>
                <a:lnTo>
                  <a:pt x="39624" y="57911"/>
                </a:lnTo>
                <a:lnTo>
                  <a:pt x="50292" y="45719"/>
                </a:lnTo>
                <a:lnTo>
                  <a:pt x="91440" y="18287"/>
                </a:lnTo>
                <a:lnTo>
                  <a:pt x="138684" y="3047"/>
                </a:lnTo>
                <a:lnTo>
                  <a:pt x="156972" y="0"/>
                </a:lnTo>
                <a:lnTo>
                  <a:pt x="192024" y="0"/>
                </a:lnTo>
                <a:lnTo>
                  <a:pt x="225552" y="6095"/>
                </a:lnTo>
                <a:lnTo>
                  <a:pt x="238125" y="10667"/>
                </a:lnTo>
                <a:lnTo>
                  <a:pt x="158495" y="10667"/>
                </a:lnTo>
                <a:lnTo>
                  <a:pt x="124968" y="16763"/>
                </a:lnTo>
                <a:lnTo>
                  <a:pt x="82296" y="35051"/>
                </a:lnTo>
                <a:lnTo>
                  <a:pt x="47244" y="64007"/>
                </a:lnTo>
                <a:lnTo>
                  <a:pt x="22860" y="100583"/>
                </a:lnTo>
                <a:lnTo>
                  <a:pt x="10668" y="141731"/>
                </a:lnTo>
                <a:lnTo>
                  <a:pt x="10668" y="172211"/>
                </a:lnTo>
                <a:lnTo>
                  <a:pt x="22860" y="214883"/>
                </a:lnTo>
                <a:lnTo>
                  <a:pt x="47244" y="251459"/>
                </a:lnTo>
                <a:lnTo>
                  <a:pt x="57912" y="260603"/>
                </a:lnTo>
                <a:lnTo>
                  <a:pt x="70104" y="271271"/>
                </a:lnTo>
                <a:lnTo>
                  <a:pt x="109728" y="292607"/>
                </a:lnTo>
                <a:lnTo>
                  <a:pt x="173736" y="304799"/>
                </a:lnTo>
                <a:lnTo>
                  <a:pt x="237236" y="304799"/>
                </a:lnTo>
                <a:lnTo>
                  <a:pt x="227076" y="307847"/>
                </a:lnTo>
                <a:lnTo>
                  <a:pt x="210312" y="312419"/>
                </a:lnTo>
                <a:lnTo>
                  <a:pt x="175260" y="315467"/>
                </a:lnTo>
                <a:close/>
              </a:path>
              <a:path w="349250" h="315595">
                <a:moveTo>
                  <a:pt x="237236" y="304799"/>
                </a:moveTo>
                <a:lnTo>
                  <a:pt x="173736" y="304799"/>
                </a:lnTo>
                <a:lnTo>
                  <a:pt x="207264" y="301751"/>
                </a:lnTo>
                <a:lnTo>
                  <a:pt x="222504" y="298703"/>
                </a:lnTo>
                <a:lnTo>
                  <a:pt x="266700" y="278891"/>
                </a:lnTo>
                <a:lnTo>
                  <a:pt x="301752" y="251459"/>
                </a:lnTo>
                <a:lnTo>
                  <a:pt x="326136" y="214883"/>
                </a:lnTo>
                <a:lnTo>
                  <a:pt x="338328" y="172211"/>
                </a:lnTo>
                <a:lnTo>
                  <a:pt x="338328" y="143255"/>
                </a:lnTo>
                <a:lnTo>
                  <a:pt x="326136" y="100583"/>
                </a:lnTo>
                <a:lnTo>
                  <a:pt x="301752" y="64007"/>
                </a:lnTo>
                <a:lnTo>
                  <a:pt x="266700" y="35051"/>
                </a:lnTo>
                <a:lnTo>
                  <a:pt x="224028" y="16763"/>
                </a:lnTo>
                <a:lnTo>
                  <a:pt x="207264" y="13715"/>
                </a:lnTo>
                <a:lnTo>
                  <a:pt x="192024" y="10667"/>
                </a:lnTo>
                <a:lnTo>
                  <a:pt x="238125" y="10667"/>
                </a:lnTo>
                <a:lnTo>
                  <a:pt x="242316" y="12191"/>
                </a:lnTo>
                <a:lnTo>
                  <a:pt x="284988" y="35051"/>
                </a:lnTo>
                <a:lnTo>
                  <a:pt x="318515" y="68579"/>
                </a:lnTo>
                <a:lnTo>
                  <a:pt x="341376" y="109727"/>
                </a:lnTo>
                <a:lnTo>
                  <a:pt x="347472" y="141731"/>
                </a:lnTo>
                <a:lnTo>
                  <a:pt x="348996" y="156971"/>
                </a:lnTo>
                <a:lnTo>
                  <a:pt x="341376" y="204215"/>
                </a:lnTo>
                <a:lnTo>
                  <a:pt x="309372" y="257555"/>
                </a:lnTo>
                <a:lnTo>
                  <a:pt x="272795" y="288035"/>
                </a:lnTo>
                <a:lnTo>
                  <a:pt x="242316" y="303275"/>
                </a:lnTo>
                <a:lnTo>
                  <a:pt x="237236" y="304799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914400" hangingPunct="1"/>
            <a:endParaRPr kern="1200">
              <a:solidFill>
                <a:prstClr val="black"/>
              </a:solidFill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1521507" y="3420181"/>
            <a:ext cx="2392218" cy="814325"/>
          </a:xfrm>
          <a:prstGeom prst="rect">
            <a:avLst/>
          </a:prstGeom>
        </p:spPr>
        <p:txBody>
          <a:bodyPr vert="horz" wrap="square" lIns="0" tIns="34290" rIns="0" bIns="0" rtlCol="0">
            <a:spAutoFit/>
          </a:bodyPr>
          <a:lstStyle/>
          <a:p>
            <a:pPr marR="250825" algn="r" defTabSz="914400" hangingPunct="1">
              <a:spcBef>
                <a:spcPts val="270"/>
              </a:spcBef>
            </a:pPr>
            <a:r>
              <a:rPr sz="1650" b="1" kern="1200" spc="-45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650" b="1" kern="1200" spc="-5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endParaRPr sz="1650" kern="1200">
              <a:solidFill>
                <a:prstClr val="black"/>
              </a:solidFill>
              <a:latin typeface="Arial"/>
              <a:cs typeface="Arial"/>
            </a:endParaRPr>
          </a:p>
          <a:p>
            <a:pPr marL="11430" algn="ctr" defTabSz="914400" hangingPunct="1">
              <a:lnSpc>
                <a:spcPts val="2730"/>
              </a:lnSpc>
              <a:spcBef>
                <a:spcPts val="250"/>
              </a:spcBef>
            </a:pPr>
            <a:r>
              <a:rPr sz="2300" b="1" kern="1200" spc="10" dirty="0">
                <a:solidFill>
                  <a:srgbClr val="FF0000"/>
                </a:solidFill>
                <a:latin typeface="Arial"/>
                <a:cs typeface="Arial"/>
              </a:rPr>
              <a:t>I</a:t>
            </a:r>
            <a:r>
              <a:rPr sz="1450" b="1" kern="1200" spc="10" dirty="0">
                <a:solidFill>
                  <a:srgbClr val="FFFFFF"/>
                </a:solidFill>
                <a:latin typeface="Arial"/>
                <a:cs typeface="Arial"/>
              </a:rPr>
              <a:t>ntelligence</a:t>
            </a:r>
            <a:endParaRPr sz="1450" kern="1200">
              <a:solidFill>
                <a:prstClr val="black"/>
              </a:solidFill>
              <a:latin typeface="Arial"/>
              <a:cs typeface="Arial"/>
            </a:endParaRPr>
          </a:p>
          <a:p>
            <a:pPr algn="ctr" defTabSz="914400" hangingPunct="1">
              <a:lnSpc>
                <a:spcPts val="1050"/>
              </a:lnSpc>
            </a:pPr>
            <a:r>
              <a:rPr sz="900" kern="1200" dirty="0">
                <a:solidFill>
                  <a:srgbClr val="FFFFFF"/>
                </a:solidFill>
                <a:latin typeface="Arial"/>
                <a:cs typeface="Arial"/>
              </a:rPr>
              <a:t>Data Mining, Comprehensive</a:t>
            </a:r>
            <a:r>
              <a:rPr sz="900" kern="1200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kern="1200" dirty="0">
                <a:solidFill>
                  <a:srgbClr val="FFFFFF"/>
                </a:solidFill>
                <a:latin typeface="Arial"/>
                <a:cs typeface="Arial"/>
              </a:rPr>
              <a:t>Analysis</a:t>
            </a:r>
            <a:endParaRPr sz="900" kern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4" name="object 82"/>
          <p:cNvSpPr/>
          <p:nvPr/>
        </p:nvSpPr>
        <p:spPr>
          <a:xfrm>
            <a:off x="2286001" y="0"/>
            <a:ext cx="7414259" cy="609600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3"/>
          <p:cNvSpPr txBox="1"/>
          <p:nvPr/>
        </p:nvSpPr>
        <p:spPr>
          <a:xfrm>
            <a:off x="2551086" y="0"/>
            <a:ext cx="7722615" cy="335988"/>
          </a:xfrm>
          <a:prstGeom prst="rect">
            <a:avLst/>
          </a:prstGeom>
        </p:spPr>
        <p:txBody>
          <a:bodyPr vert="horz" wrap="square" lIns="0" tIns="12699" rIns="0" bIns="0" rtlCol="0">
            <a:spAutoFit/>
          </a:bodyPr>
          <a:lstStyle/>
          <a:p>
            <a:pPr marL="12699">
              <a:spcBef>
                <a:spcPts val="100"/>
              </a:spcBef>
            </a:pPr>
            <a:r>
              <a:rPr lang="en-US" sz="2100" b="1" dirty="0">
                <a:solidFill>
                  <a:srgbClr val="FFFFFF"/>
                </a:solidFill>
                <a:latin typeface="Arial"/>
                <a:cs typeface="Arial"/>
              </a:rPr>
              <a:t>The Urgent Need for a Command-and-Control Center</a:t>
            </a:r>
            <a:endParaRPr sz="2100" dirty="0">
              <a:latin typeface="Arial"/>
              <a:cs typeface="Arial"/>
            </a:endParaRPr>
          </a:p>
        </p:txBody>
      </p:sp>
      <p:sp>
        <p:nvSpPr>
          <p:cNvPr id="86" name="object 81"/>
          <p:cNvSpPr/>
          <p:nvPr/>
        </p:nvSpPr>
        <p:spPr>
          <a:xfrm>
            <a:off x="11032238" y="6081972"/>
            <a:ext cx="1159762" cy="853440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353528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FD88DBD-6527-4183-B613-25B6ADB04999}"/>
              </a:ext>
            </a:extLst>
          </p:cNvPr>
          <p:cNvSpPr>
            <a:spLocks noGrp="1"/>
          </p:cNvSpPr>
          <p:nvPr>
            <p:ph type="pic" idx="13"/>
          </p:nvPr>
        </p:nvSpPr>
        <p:spPr/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6BF641E-02E1-4C12-895D-FBA2E1C65756}"/>
              </a:ext>
            </a:extLst>
          </p:cNvPr>
          <p:cNvSpPr/>
          <p:nvPr/>
        </p:nvSpPr>
        <p:spPr>
          <a:xfrm>
            <a:off x="3" y="0"/>
            <a:ext cx="12192007" cy="6858000"/>
          </a:xfrm>
          <a:prstGeom prst="rect">
            <a:avLst/>
          </a:prstGeom>
          <a:gradFill>
            <a:gsLst>
              <a:gs pos="0">
                <a:srgbClr val="182C87"/>
              </a:gs>
              <a:gs pos="100000">
                <a:srgbClr val="E60040"/>
              </a:gs>
            </a:gsLst>
            <a:lin ang="19860000"/>
          </a:gradFill>
          <a:ln w="12700">
            <a:miter lim="400000"/>
          </a:ln>
        </p:spPr>
        <p:txBody>
          <a:bodyPr lIns="45712" tIns="45712" rIns="45712" bIns="45712" anchor="ctr"/>
          <a:lstStyle/>
          <a:p>
            <a:pPr algn="ctr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Roboto Light"/>
              </a:defRPr>
            </a:pPr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05D0FC-FEAD-4563-A2BB-A0A932A6226E}"/>
              </a:ext>
            </a:extLst>
          </p:cNvPr>
          <p:cNvSpPr txBox="1"/>
          <p:nvPr/>
        </p:nvSpPr>
        <p:spPr>
          <a:xfrm>
            <a:off x="1219201" y="609602"/>
            <a:ext cx="6324600" cy="9233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2" tIns="45712" rIns="45712" bIns="45712" numCol="1" spcCol="38095" rtlCol="0" anchor="t">
            <a:spAutoFit/>
          </a:bodyPr>
          <a:lstStyle/>
          <a:p>
            <a:r>
              <a:rPr lang="en-US" sz="5400" dirty="0">
                <a:solidFill>
                  <a:srgbClr val="FFFFFF"/>
                </a:solidFill>
                <a:latin typeface="Roboto Slab Regular"/>
              </a:rPr>
              <a:t>AGENDA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7FA1D39-9818-4860-8D14-4FCC1BC6B9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8701" y="1905001"/>
            <a:ext cx="10134600" cy="3926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7908" tIns="23953" rIns="47908" bIns="23953">
            <a:spAutoFit/>
          </a:bodyPr>
          <a:lstStyle>
            <a:lvl1pPr marL="285750" indent="-285750"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80962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457146" indent="-457146">
              <a:lnSpc>
                <a:spcPct val="150000"/>
              </a:lnSpc>
              <a:buFont typeface="Wingdings" panose="05000000000000000000" pitchFamily="2" charset="2"/>
              <a:buChar char="§"/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sz="2800" dirty="0">
                <a:solidFill>
                  <a:schemeClr val="bg1"/>
                </a:solidFill>
                <a:latin typeface="Roboto Medium" charset="0"/>
              </a:rPr>
              <a:t>OGERO projects overview</a:t>
            </a:r>
          </a:p>
          <a:p>
            <a:pPr marL="457146" indent="-457146">
              <a:lnSpc>
                <a:spcPct val="150000"/>
              </a:lnSpc>
              <a:buFont typeface="Wingdings" panose="05000000000000000000" pitchFamily="2" charset="2"/>
              <a:buChar char="§"/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altLang="en-US" sz="2800" dirty="0">
                <a:solidFill>
                  <a:schemeClr val="bg1"/>
                </a:solidFill>
                <a:latin typeface="Roboto Medium" charset="0"/>
              </a:rPr>
              <a:t>The pandemic implication on Telecom operators</a:t>
            </a:r>
          </a:p>
          <a:p>
            <a:pPr marL="457146" indent="-457146">
              <a:lnSpc>
                <a:spcPct val="150000"/>
              </a:lnSpc>
              <a:buFont typeface="Wingdings" panose="05000000000000000000" pitchFamily="2" charset="2"/>
              <a:buChar char="§"/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sz="2800" dirty="0">
                <a:solidFill>
                  <a:schemeClr val="bg1"/>
                </a:solidFill>
                <a:latin typeface="Roboto Medium" charset="0"/>
                <a:ea typeface="Roboto Slab Regular"/>
                <a:cs typeface="Roboto Slab Regular"/>
                <a:sym typeface="Roboto Slab Regular"/>
              </a:rPr>
              <a:t>Lebanon an extreme case </a:t>
            </a:r>
          </a:p>
          <a:p>
            <a:pPr marL="457146" indent="-457146">
              <a:lnSpc>
                <a:spcPct val="150000"/>
              </a:lnSpc>
              <a:buFont typeface="Wingdings" panose="05000000000000000000" pitchFamily="2" charset="2"/>
              <a:buChar char="§"/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sz="2800" dirty="0">
                <a:solidFill>
                  <a:schemeClr val="bg1"/>
                </a:solidFill>
                <a:latin typeface="Roboto Medium" charset="0"/>
                <a:ea typeface="Roboto Slab Regular"/>
                <a:cs typeface="Roboto Slab Regular"/>
              </a:rPr>
              <a:t>Potential partnership and support</a:t>
            </a:r>
            <a:endParaRPr lang="en-US" altLang="en-US" sz="2800" dirty="0">
              <a:solidFill>
                <a:schemeClr val="bg1"/>
              </a:solidFill>
              <a:latin typeface="Roboto Medium" charset="0"/>
            </a:endParaRPr>
          </a:p>
          <a:p>
            <a:pPr marL="457146" indent="-457146">
              <a:lnSpc>
                <a:spcPct val="150000"/>
              </a:lnSpc>
              <a:buFont typeface="Wingdings" panose="05000000000000000000" pitchFamily="2" charset="2"/>
              <a:buChar char="§"/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endParaRPr lang="en-US" altLang="en-US" sz="2800" dirty="0">
              <a:solidFill>
                <a:srgbClr val="FFFFFF"/>
              </a:solidFill>
              <a:latin typeface="Roboto Slab Regular"/>
            </a:endParaRPr>
          </a:p>
          <a:p>
            <a:pPr marL="0" indent="0">
              <a:lnSpc>
                <a:spcPct val="150000"/>
              </a:lnSpc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endParaRPr lang="en-US" altLang="en-US" sz="2800" dirty="0">
              <a:solidFill>
                <a:srgbClr val="FFFFFF"/>
              </a:solidFill>
              <a:latin typeface="Roboto Slab Regular"/>
            </a:endParaRPr>
          </a:p>
        </p:txBody>
      </p:sp>
      <p:sp>
        <p:nvSpPr>
          <p:cNvPr id="6" name="Straight Connector 5">
            <a:extLst>
              <a:ext uri="{FF2B5EF4-FFF2-40B4-BE49-F238E27FC236}">
                <a16:creationId xmlns:a16="http://schemas.microsoft.com/office/drawing/2014/main" id="{5F2B51CB-467E-469B-B2C2-28D9B6E820DE}"/>
              </a:ext>
            </a:extLst>
          </p:cNvPr>
          <p:cNvSpPr/>
          <p:nvPr/>
        </p:nvSpPr>
        <p:spPr>
          <a:xfrm>
            <a:off x="1295401" y="1600200"/>
            <a:ext cx="2971800" cy="0"/>
          </a:xfrm>
          <a:prstGeom prst="line">
            <a:avLst/>
          </a:prstGeom>
          <a:ln w="19050">
            <a:solidFill>
              <a:srgbClr val="FFFFFF"/>
            </a:solidFill>
            <a:miter/>
          </a:ln>
        </p:spPr>
        <p:txBody>
          <a:bodyPr lIns="45712" tIns="45712" rIns="45712" bIns="45712"/>
          <a:lstStyle/>
          <a:p>
            <a:endParaRPr/>
          </a:p>
        </p:txBody>
      </p:sp>
      <p:pic>
        <p:nvPicPr>
          <p:cNvPr id="7" name="Picture 6" descr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405" y="5638802"/>
            <a:ext cx="1995101" cy="829723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 Placeholder 11"/>
          <p:cNvSpPr>
            <a:spLocks noGrp="1"/>
          </p:cNvSpPr>
          <p:nvPr>
            <p:ph type="sldNum" sz="quarter" idx="2"/>
          </p:nvPr>
        </p:nvSpPr>
        <p:spPr>
          <a:xfrm>
            <a:off x="6055258" y="6229135"/>
            <a:ext cx="177275" cy="276983"/>
          </a:xfrm>
        </p:spPr>
        <p:txBody>
          <a:bodyPr/>
          <a:lstStyle/>
          <a:p>
            <a:fld id="{86CB4B4D-7CA3-9044-876B-883B54F8677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190181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9" name="Picture Placeholder 1"/>
          <p:cNvGrpSpPr/>
          <p:nvPr/>
        </p:nvGrpSpPr>
        <p:grpSpPr>
          <a:xfrm>
            <a:off x="-20471" y="-38305"/>
            <a:ext cx="12212472" cy="6896306"/>
            <a:chOff x="-20472" y="-38306"/>
            <a:chExt cx="12212472" cy="6896306"/>
          </a:xfrm>
        </p:grpSpPr>
        <p:sp>
          <p:nvSpPr>
            <p:cNvPr id="607" name="Rectangle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>
                <a:defRPr>
                  <a:latin typeface="+mj-lt"/>
                  <a:ea typeface="+mj-ea"/>
                  <a:cs typeface="+mj-cs"/>
                  <a:sym typeface="Roboto Light"/>
                </a:defRPr>
              </a:pPr>
              <a:endParaRPr/>
            </a:p>
          </p:txBody>
        </p:sp>
        <p:pic>
          <p:nvPicPr>
            <p:cNvPr id="608" name="image5.jpe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0472" y="-38306"/>
              <a:ext cx="12192000" cy="685190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610" name="Oval 15"/>
          <p:cNvSpPr/>
          <p:nvPr/>
        </p:nvSpPr>
        <p:spPr>
          <a:xfrm>
            <a:off x="642427" y="685800"/>
            <a:ext cx="5486407" cy="5486400"/>
          </a:xfrm>
          <a:prstGeom prst="ellipse">
            <a:avLst/>
          </a:prstGeom>
          <a:solidFill>
            <a:srgbClr val="FFFFFF">
              <a:alpha val="50000"/>
            </a:srgbClr>
          </a:solidFill>
          <a:ln w="12700">
            <a:miter lim="400000"/>
          </a:ln>
        </p:spPr>
        <p:txBody>
          <a:bodyPr lIns="45712" tIns="45712" rIns="45712" bIns="45712" anchor="ctr"/>
          <a:lstStyle/>
          <a:p>
            <a:pPr algn="ctr">
              <a:defRPr sz="2400">
                <a:solidFill>
                  <a:srgbClr val="FFFFFF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11" name="Oval 26"/>
          <p:cNvSpPr/>
          <p:nvPr/>
        </p:nvSpPr>
        <p:spPr>
          <a:xfrm>
            <a:off x="841976" y="914400"/>
            <a:ext cx="5029202" cy="5029200"/>
          </a:xfrm>
          <a:prstGeom prst="ellipse">
            <a:avLst/>
          </a:prstGeom>
          <a:gradFill>
            <a:gsLst>
              <a:gs pos="0">
                <a:srgbClr val="182C87"/>
              </a:gs>
              <a:gs pos="100000">
                <a:srgbClr val="E60040"/>
              </a:gs>
            </a:gsLst>
            <a:lin ang="19860000"/>
          </a:gradFill>
          <a:ln w="12700">
            <a:miter lim="400000"/>
          </a:ln>
        </p:spPr>
        <p:txBody>
          <a:bodyPr lIns="45712" tIns="45712" rIns="45712" bIns="45712" anchor="ctr"/>
          <a:lstStyle/>
          <a:p>
            <a:pPr algn="ctr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Roboto Light"/>
              </a:defRPr>
            </a:pPr>
            <a:endParaRPr/>
          </a:p>
        </p:txBody>
      </p:sp>
      <p:sp>
        <p:nvSpPr>
          <p:cNvPr id="612" name="TextBox 4"/>
          <p:cNvSpPr txBox="1"/>
          <p:nvPr/>
        </p:nvSpPr>
        <p:spPr>
          <a:xfrm>
            <a:off x="1293031" y="2743200"/>
            <a:ext cx="4386775" cy="19514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2" tIns="45712" rIns="45712" bIns="45712">
            <a:spAutoFit/>
          </a:bodyPr>
          <a:lstStyle/>
          <a:p>
            <a:pPr lvl="0" algn="ctr">
              <a:lnSpc>
                <a:spcPct val="150000"/>
              </a:lnSpc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sz="2800" dirty="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rPr>
              <a:t>Potential partnership </a:t>
            </a:r>
          </a:p>
          <a:p>
            <a:pPr lvl="0" algn="ctr">
              <a:lnSpc>
                <a:spcPct val="150000"/>
              </a:lnSpc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sz="2800" dirty="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rPr>
              <a:t>and support</a:t>
            </a:r>
          </a:p>
          <a:p>
            <a:pPr lvl="0" algn="ctr">
              <a:lnSpc>
                <a:spcPct val="150000"/>
              </a:lnSpc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altLang="en-US" sz="2800" dirty="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rPr>
              <a:t>            </a:t>
            </a:r>
            <a:endParaRPr lang="en-US" altLang="en-US" sz="2800" dirty="0">
              <a:solidFill>
                <a:srgbClr val="FFFFFF"/>
              </a:solidFill>
              <a:latin typeface="Roboto Slab Regular"/>
              <a:ea typeface="Roboto Slab Regular"/>
              <a:cs typeface="Roboto Slab Regular"/>
            </a:endParaRPr>
          </a:p>
        </p:txBody>
      </p:sp>
      <p:pic>
        <p:nvPicPr>
          <p:cNvPr id="8" name="Picture 7" descr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4029" y="5867402"/>
            <a:ext cx="1995101" cy="829723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2"/>
          </p:nvPr>
        </p:nvSpPr>
        <p:spPr>
          <a:xfrm>
            <a:off x="5911056" y="6278395"/>
            <a:ext cx="262235" cy="276983"/>
          </a:xfrm>
        </p:spPr>
        <p:txBody>
          <a:bodyPr/>
          <a:lstStyle/>
          <a:p>
            <a:fld id="{86CB4B4D-7CA3-9044-876B-883B54F8677D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029956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4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66" t="13974" b="6328"/>
          <a:stretch/>
        </p:blipFill>
        <p:spPr bwMode="auto">
          <a:xfrm>
            <a:off x="0" y="-228600"/>
            <a:ext cx="12360851" cy="708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object 37"/>
          <p:cNvSpPr/>
          <p:nvPr/>
        </p:nvSpPr>
        <p:spPr>
          <a:xfrm>
            <a:off x="2133600" y="-218703"/>
            <a:ext cx="7414259" cy="73977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4631789" y="-20208"/>
            <a:ext cx="2683411" cy="335988"/>
          </a:xfrm>
          <a:prstGeom prst="rect">
            <a:avLst/>
          </a:prstGeom>
        </p:spPr>
        <p:txBody>
          <a:bodyPr vert="horz" wrap="square" lIns="0" tIns="12699" rIns="0" bIns="0" rtlCol="0">
            <a:spAutoFit/>
          </a:bodyPr>
          <a:lstStyle/>
          <a:p>
            <a:pPr marL="12699">
              <a:spcBef>
                <a:spcPts val="100"/>
              </a:spcBef>
            </a:pPr>
            <a:r>
              <a:rPr lang="en-US" sz="2100" b="1" dirty="0">
                <a:solidFill>
                  <a:srgbClr val="FFFFFF"/>
                </a:solidFill>
                <a:latin typeface="Arial"/>
                <a:cs typeface="Arial"/>
              </a:rPr>
              <a:t>         In General</a:t>
            </a:r>
            <a:endParaRPr sz="2100" dirty="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1032238" y="6105247"/>
            <a:ext cx="1159762" cy="752755"/>
          </a:xfrm>
          <a:prstGeom prst="rect">
            <a:avLst/>
          </a:prstGeom>
          <a:blipFill>
            <a:blip r:embed="rId4" cstate="print"/>
            <a:srcRect/>
            <a:stretch>
              <a:fillRect b="-13376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9" name="Google Shape;181;p23"/>
          <p:cNvGrpSpPr/>
          <p:nvPr/>
        </p:nvGrpSpPr>
        <p:grpSpPr>
          <a:xfrm>
            <a:off x="1545080" y="2501870"/>
            <a:ext cx="8520876" cy="4127533"/>
            <a:chOff x="1994342" y="1440680"/>
            <a:chExt cx="6390657" cy="3095650"/>
          </a:xfrm>
        </p:grpSpPr>
        <p:sp>
          <p:nvSpPr>
            <p:cNvPr id="20" name="Google Shape;182;p23"/>
            <p:cNvSpPr/>
            <p:nvPr/>
          </p:nvSpPr>
          <p:spPr>
            <a:xfrm rot="-6597333">
              <a:off x="4296826" y="3950027"/>
              <a:ext cx="586303" cy="586303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rgbClr val="00D0FF">
                    <a:alpha val="11764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1219122" hangingPunct="1">
                <a:buClr>
                  <a:srgbClr val="000000"/>
                </a:buClr>
              </a:pPr>
              <a:endParaRPr sz="190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21" name="Google Shape;183;p23"/>
            <p:cNvSpPr/>
            <p:nvPr/>
          </p:nvSpPr>
          <p:spPr>
            <a:xfrm rot="-6599386">
              <a:off x="2361171" y="3604583"/>
              <a:ext cx="440541" cy="440541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rgbClr val="00D0FF">
                    <a:alpha val="11764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1219122" hangingPunct="1">
                <a:buClr>
                  <a:srgbClr val="000000"/>
                </a:buClr>
              </a:pPr>
              <a:endParaRPr sz="190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22" name="Google Shape;184;p23"/>
            <p:cNvSpPr/>
            <p:nvPr/>
          </p:nvSpPr>
          <p:spPr>
            <a:xfrm rot="15001161">
              <a:off x="4365934" y="1739022"/>
              <a:ext cx="1199287" cy="1199287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rgbClr val="00D0FF">
                    <a:alpha val="11764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1219122" hangingPunct="1">
                <a:buClr>
                  <a:srgbClr val="000000"/>
                </a:buClr>
              </a:pPr>
              <a:endParaRPr sz="190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23" name="Google Shape;185;p23"/>
            <p:cNvSpPr/>
            <p:nvPr/>
          </p:nvSpPr>
          <p:spPr>
            <a:xfrm rot="15001380">
              <a:off x="6703418" y="1440680"/>
              <a:ext cx="1681581" cy="1681581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rgbClr val="00D0FF">
                    <a:alpha val="11764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1219122" hangingPunct="1">
                <a:buClr>
                  <a:srgbClr val="000000"/>
                </a:buClr>
              </a:pPr>
              <a:endParaRPr sz="190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24" name="Google Shape;186;p23"/>
            <p:cNvSpPr/>
            <p:nvPr/>
          </p:nvSpPr>
          <p:spPr>
            <a:xfrm>
              <a:off x="1994342" y="1817566"/>
              <a:ext cx="1018242" cy="100949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1219122" hangingPunct="1">
                <a:buClr>
                  <a:srgbClr val="000000"/>
                </a:buClr>
              </a:pPr>
              <a:endParaRPr sz="190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25" name="Google Shape;187;p23"/>
            <p:cNvSpPr/>
            <p:nvPr/>
          </p:nvSpPr>
          <p:spPr>
            <a:xfrm rot="15002299">
              <a:off x="3015368" y="1497029"/>
              <a:ext cx="274172" cy="274172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rgbClr val="00D0FF">
                    <a:alpha val="11764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1219122" hangingPunct="1">
                <a:buClr>
                  <a:srgbClr val="000000"/>
                </a:buClr>
              </a:pPr>
              <a:endParaRPr sz="190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</p:grpSp>
      <p:grpSp>
        <p:nvGrpSpPr>
          <p:cNvPr id="28" name="Google Shape;188;p23"/>
          <p:cNvGrpSpPr/>
          <p:nvPr/>
        </p:nvGrpSpPr>
        <p:grpSpPr>
          <a:xfrm>
            <a:off x="9651829" y="2373321"/>
            <a:ext cx="2616371" cy="2499203"/>
            <a:chOff x="4447194" y="1815766"/>
            <a:chExt cx="2440200" cy="2440200"/>
          </a:xfrm>
        </p:grpSpPr>
        <p:sp>
          <p:nvSpPr>
            <p:cNvPr id="29" name="Google Shape;189;p23"/>
            <p:cNvSpPr/>
            <p:nvPr/>
          </p:nvSpPr>
          <p:spPr>
            <a:xfrm>
              <a:off x="4447194" y="1815766"/>
              <a:ext cx="2440200" cy="24402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228600" dist="50800" dir="5400000" algn="tl" rotWithShape="0">
                <a:srgbClr val="000000">
                  <a:alpha val="549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1219122" hangingPunct="1">
                <a:buClr>
                  <a:srgbClr val="000000"/>
                </a:buClr>
              </a:pPr>
              <a:endParaRPr sz="190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endParaRPr>
            </a:p>
          </p:txBody>
        </p:sp>
        <p:sp>
          <p:nvSpPr>
            <p:cNvPr id="30" name="Google Shape;190;p23"/>
            <p:cNvSpPr txBox="1"/>
            <p:nvPr/>
          </p:nvSpPr>
          <p:spPr>
            <a:xfrm>
              <a:off x="4735950" y="2504275"/>
              <a:ext cx="1862700" cy="116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 defTabSz="1219122" hangingPunct="1">
                <a:buClr>
                  <a:srgbClr val="000000"/>
                </a:buClr>
              </a:pPr>
              <a:r>
                <a:rPr lang="en" sz="1600" b="1" dirty="0">
                  <a:solidFill>
                    <a:schemeClr val="bg1"/>
                  </a:solidFill>
                  <a:ea typeface="Montserrat Light"/>
                  <a:cs typeface="Montserrat Light"/>
                  <a:sym typeface="Montserrat Light"/>
                </a:rPr>
                <a:t>International Vaccination mobile application</a:t>
              </a:r>
              <a:endParaRPr sz="1600" b="1" dirty="0">
                <a:solidFill>
                  <a:schemeClr val="bg1"/>
                </a:solidFill>
                <a:ea typeface="Montserrat Light"/>
                <a:cs typeface="Montserrat Light"/>
                <a:sym typeface="Montserrat Light"/>
              </a:endParaRPr>
            </a:p>
          </p:txBody>
        </p:sp>
      </p:grpSp>
      <p:grpSp>
        <p:nvGrpSpPr>
          <p:cNvPr id="31" name="Google Shape;191;p23"/>
          <p:cNvGrpSpPr/>
          <p:nvPr/>
        </p:nvGrpSpPr>
        <p:grpSpPr>
          <a:xfrm>
            <a:off x="6252713" y="2712148"/>
            <a:ext cx="1898400" cy="1898400"/>
            <a:chOff x="3440065" y="1402229"/>
            <a:chExt cx="1423800" cy="1423800"/>
          </a:xfrm>
        </p:grpSpPr>
        <p:sp>
          <p:nvSpPr>
            <p:cNvPr id="32" name="Google Shape;192;p23"/>
            <p:cNvSpPr/>
            <p:nvPr/>
          </p:nvSpPr>
          <p:spPr>
            <a:xfrm>
              <a:off x="3440065" y="1402229"/>
              <a:ext cx="1423800" cy="14238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228600" dist="50800" dir="5400000" algn="tl" rotWithShape="0">
                <a:srgbClr val="000000">
                  <a:alpha val="549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1219122" hangingPunct="1">
                <a:buClr>
                  <a:srgbClr val="000000"/>
                </a:buClr>
              </a:pPr>
              <a:endParaRPr sz="2100">
                <a:solidFill>
                  <a:srgbClr val="004591"/>
                </a:solidFill>
                <a:latin typeface="Montserrat Light"/>
                <a:ea typeface="Montserrat Light"/>
                <a:cs typeface="Montserrat Light"/>
                <a:sym typeface="Montserrat Light"/>
              </a:endParaRPr>
            </a:p>
          </p:txBody>
        </p:sp>
        <p:sp>
          <p:nvSpPr>
            <p:cNvPr id="33" name="Google Shape;193;p23"/>
            <p:cNvSpPr txBox="1"/>
            <p:nvPr/>
          </p:nvSpPr>
          <p:spPr>
            <a:xfrm>
              <a:off x="3541411" y="1613603"/>
              <a:ext cx="1145143" cy="944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 defTabSz="1219122" hangingPunct="1">
                <a:buClr>
                  <a:srgbClr val="000000"/>
                </a:buClr>
              </a:pPr>
              <a:r>
                <a:rPr lang="en" sz="1600" b="1" dirty="0">
                  <a:solidFill>
                    <a:schemeClr val="bg1"/>
                  </a:solidFill>
                  <a:ea typeface="Montserrat Light"/>
                  <a:cs typeface="Montserrat Light"/>
                  <a:sym typeface="Montserrat Light"/>
                </a:rPr>
                <a:t>Implication of </a:t>
              </a:r>
            </a:p>
            <a:p>
              <a:pPr algn="ctr" defTabSz="1219122" hangingPunct="1">
                <a:buClr>
                  <a:srgbClr val="000000"/>
                </a:buClr>
              </a:pPr>
              <a:r>
                <a:rPr lang="en" sz="1600" b="1" dirty="0">
                  <a:solidFill>
                    <a:schemeClr val="bg1"/>
                  </a:solidFill>
                  <a:ea typeface="Montserrat Light"/>
                  <a:cs typeface="Montserrat Light"/>
                  <a:sym typeface="Montserrat Light"/>
                </a:rPr>
                <a:t>LEO</a:t>
              </a:r>
            </a:p>
            <a:p>
              <a:pPr algn="ctr" defTabSz="1219122" hangingPunct="1">
                <a:buClr>
                  <a:srgbClr val="000000"/>
                </a:buClr>
              </a:pPr>
              <a:r>
                <a:rPr lang="en" sz="1600" b="1" dirty="0">
                  <a:solidFill>
                    <a:schemeClr val="bg1"/>
                  </a:solidFill>
                  <a:ea typeface="Montserrat Light"/>
                  <a:cs typeface="Montserrat Light"/>
                  <a:sym typeface="Montserrat Light"/>
                </a:rPr>
                <a:t>Satellites</a:t>
              </a:r>
              <a:endParaRPr sz="1600" b="1" dirty="0">
                <a:solidFill>
                  <a:schemeClr val="bg1"/>
                </a:solidFill>
                <a:ea typeface="Montserrat Light"/>
                <a:cs typeface="Montserrat Light"/>
                <a:sym typeface="Montserrat Light"/>
              </a:endParaRPr>
            </a:p>
          </p:txBody>
        </p:sp>
      </p:grpSp>
      <p:grpSp>
        <p:nvGrpSpPr>
          <p:cNvPr id="34" name="Google Shape;194;p23"/>
          <p:cNvGrpSpPr/>
          <p:nvPr/>
        </p:nvGrpSpPr>
        <p:grpSpPr>
          <a:xfrm>
            <a:off x="2862176" y="2635372"/>
            <a:ext cx="1998400" cy="1998400"/>
            <a:chOff x="496118" y="3746158"/>
            <a:chExt cx="1498800" cy="1498800"/>
          </a:xfrm>
        </p:grpSpPr>
        <p:sp>
          <p:nvSpPr>
            <p:cNvPr id="35" name="Google Shape;195;p23"/>
            <p:cNvSpPr/>
            <p:nvPr/>
          </p:nvSpPr>
          <p:spPr>
            <a:xfrm>
              <a:off x="496118" y="3746158"/>
              <a:ext cx="1498800" cy="14988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228600" dist="50800" dir="5400000" algn="tl" rotWithShape="0">
                <a:srgbClr val="000000">
                  <a:alpha val="549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1219122" hangingPunct="1">
                <a:buClr>
                  <a:srgbClr val="000000"/>
                </a:buClr>
              </a:pPr>
              <a:endParaRPr sz="2100">
                <a:solidFill>
                  <a:srgbClr val="004591"/>
                </a:solidFill>
                <a:latin typeface="Montserrat Light"/>
                <a:ea typeface="Montserrat Light"/>
                <a:cs typeface="Montserrat Light"/>
                <a:sym typeface="Montserrat Light"/>
              </a:endParaRPr>
            </a:p>
          </p:txBody>
        </p:sp>
        <p:sp>
          <p:nvSpPr>
            <p:cNvPr id="36" name="Google Shape;196;p23"/>
            <p:cNvSpPr txBox="1"/>
            <p:nvPr/>
          </p:nvSpPr>
          <p:spPr>
            <a:xfrm>
              <a:off x="708818" y="4028298"/>
              <a:ext cx="1073400" cy="944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 defTabSz="1219122" hangingPunct="1">
                <a:buClr>
                  <a:srgbClr val="000000"/>
                </a:buClr>
              </a:pPr>
              <a:r>
                <a:rPr lang="en" sz="1600" b="1" dirty="0">
                  <a:solidFill>
                    <a:schemeClr val="bg1"/>
                  </a:solidFill>
                  <a:ea typeface="Montserrat Light"/>
                  <a:cs typeface="Montserrat Light"/>
                  <a:sym typeface="Montserrat Light"/>
                </a:rPr>
                <a:t>Impact of E-Government</a:t>
              </a:r>
              <a:endParaRPr sz="1600" b="1" dirty="0">
                <a:solidFill>
                  <a:schemeClr val="bg1"/>
                </a:solidFill>
                <a:ea typeface="Montserrat Light"/>
                <a:cs typeface="Montserrat Light"/>
                <a:sym typeface="Montserrat Light"/>
              </a:endParaRPr>
            </a:p>
          </p:txBody>
        </p:sp>
      </p:grpSp>
      <p:sp>
        <p:nvSpPr>
          <p:cNvPr id="42" name="Google Shape;196;p23"/>
          <p:cNvSpPr txBox="1"/>
          <p:nvPr/>
        </p:nvSpPr>
        <p:spPr>
          <a:xfrm>
            <a:off x="1470039" y="3090781"/>
            <a:ext cx="1480382" cy="12851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89" tIns="121889" rIns="121889" bIns="121889" anchor="ctr" anchorCtr="0">
            <a:noAutofit/>
          </a:bodyPr>
          <a:lstStyle/>
          <a:p>
            <a:pPr algn="ctr" defTabSz="1219122" hangingPunct="1">
              <a:buClr>
                <a:srgbClr val="000000"/>
              </a:buClr>
            </a:pPr>
            <a:r>
              <a:rPr lang="en" sz="1600" b="1" dirty="0">
                <a:solidFill>
                  <a:schemeClr val="bg1"/>
                </a:solidFill>
                <a:ea typeface="Montserrat Light"/>
                <a:cs typeface="Montserrat Light"/>
                <a:sym typeface="Montserrat Light"/>
              </a:rPr>
              <a:t>Machine Learning </a:t>
            </a:r>
          </a:p>
          <a:p>
            <a:pPr algn="ctr" defTabSz="1219122" hangingPunct="1">
              <a:buClr>
                <a:srgbClr val="000000"/>
              </a:buClr>
            </a:pPr>
            <a:r>
              <a:rPr lang="en" sz="1600" b="1" dirty="0">
                <a:solidFill>
                  <a:schemeClr val="bg1"/>
                </a:solidFill>
                <a:ea typeface="Montserrat Light"/>
                <a:cs typeface="Montserrat Light"/>
                <a:sym typeface="Montserrat Light"/>
              </a:rPr>
              <a:t>AI</a:t>
            </a:r>
            <a:endParaRPr sz="1600" b="1" dirty="0">
              <a:solidFill>
                <a:schemeClr val="bg1"/>
              </a:solidFill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43" name="Google Shape;196;p23"/>
          <p:cNvSpPr txBox="1"/>
          <p:nvPr/>
        </p:nvSpPr>
        <p:spPr>
          <a:xfrm>
            <a:off x="4762005" y="3116326"/>
            <a:ext cx="1558273" cy="12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89" tIns="121889" rIns="121889" bIns="121889" anchor="ctr" anchorCtr="0">
            <a:noAutofit/>
          </a:bodyPr>
          <a:lstStyle/>
          <a:p>
            <a:pPr algn="ctr" defTabSz="1219122" hangingPunct="1">
              <a:buClr>
                <a:srgbClr val="000000"/>
              </a:buClr>
            </a:pPr>
            <a:r>
              <a:rPr lang="en" sz="1600" b="1" dirty="0">
                <a:solidFill>
                  <a:schemeClr val="bg1"/>
                </a:solidFill>
                <a:ea typeface="Montserrat Light"/>
                <a:cs typeface="Montserrat Light"/>
                <a:sym typeface="Montserrat Light"/>
              </a:rPr>
              <a:t>Collaborative</a:t>
            </a:r>
          </a:p>
          <a:p>
            <a:pPr algn="ctr" defTabSz="1219122" hangingPunct="1">
              <a:buClr>
                <a:srgbClr val="000000"/>
              </a:buClr>
            </a:pPr>
            <a:r>
              <a:rPr lang="en" sz="1600" b="1" dirty="0">
                <a:solidFill>
                  <a:schemeClr val="bg1"/>
                </a:solidFill>
                <a:ea typeface="Montserrat Light"/>
                <a:cs typeface="Montserrat Light"/>
                <a:sym typeface="Montserrat Light"/>
              </a:rPr>
              <a:t>C&amp;CC</a:t>
            </a:r>
            <a:endParaRPr sz="1600" b="1" dirty="0">
              <a:solidFill>
                <a:schemeClr val="bg1"/>
              </a:solidFill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44" name="Google Shape;193;p23"/>
          <p:cNvSpPr txBox="1"/>
          <p:nvPr/>
        </p:nvSpPr>
        <p:spPr>
          <a:xfrm>
            <a:off x="8218676" y="3125492"/>
            <a:ext cx="1433152" cy="12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89" tIns="121889" rIns="121889" bIns="121889" anchor="ctr" anchorCtr="0">
            <a:noAutofit/>
          </a:bodyPr>
          <a:lstStyle/>
          <a:p>
            <a:pPr algn="ctr" defTabSz="1219122" hangingPunct="1">
              <a:buClr>
                <a:srgbClr val="000000"/>
              </a:buClr>
            </a:pPr>
            <a:r>
              <a:rPr lang="en" sz="1600" b="1" dirty="0">
                <a:solidFill>
                  <a:schemeClr val="bg1"/>
                </a:solidFill>
                <a:ea typeface="Montserrat Light"/>
                <a:cs typeface="Montserrat Light"/>
                <a:sym typeface="Montserrat Light"/>
              </a:rPr>
              <a:t>Combating Pandemic</a:t>
            </a:r>
          </a:p>
          <a:p>
            <a:pPr algn="ctr" defTabSz="1219122" hangingPunct="1">
              <a:buClr>
                <a:srgbClr val="000000"/>
              </a:buClr>
            </a:pPr>
            <a:r>
              <a:rPr lang="en-US" sz="1600" b="1" dirty="0">
                <a:solidFill>
                  <a:schemeClr val="bg1"/>
                </a:solidFill>
                <a:ea typeface="Montserrat Light"/>
                <a:cs typeface="Montserrat Light"/>
                <a:sym typeface="Montserrat Light"/>
              </a:rPr>
              <a:t>T</a:t>
            </a:r>
            <a:r>
              <a:rPr lang="en" sz="1600" b="1" dirty="0">
                <a:solidFill>
                  <a:schemeClr val="bg1"/>
                </a:solidFill>
                <a:ea typeface="Montserrat Light"/>
                <a:cs typeface="Montserrat Light"/>
                <a:sym typeface="Montserrat Light"/>
              </a:rPr>
              <a:t>hrough</a:t>
            </a:r>
          </a:p>
          <a:p>
            <a:pPr algn="ctr" defTabSz="1219122" hangingPunct="1">
              <a:buClr>
                <a:srgbClr val="000000"/>
              </a:buClr>
            </a:pPr>
            <a:r>
              <a:rPr lang="en" sz="1600" b="1" dirty="0">
                <a:solidFill>
                  <a:schemeClr val="bg1"/>
                </a:solidFill>
                <a:ea typeface="Montserrat Light"/>
                <a:cs typeface="Montserrat Light"/>
                <a:sym typeface="Montserrat Light"/>
              </a:rPr>
              <a:t>5G</a:t>
            </a:r>
            <a:endParaRPr sz="1600" b="1" dirty="0">
              <a:solidFill>
                <a:schemeClr val="bg1"/>
              </a:solidFill>
              <a:ea typeface="Montserrat Light"/>
              <a:cs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36012357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bject 37"/>
          <p:cNvSpPr/>
          <p:nvPr/>
        </p:nvSpPr>
        <p:spPr>
          <a:xfrm>
            <a:off x="2214374" y="2"/>
            <a:ext cx="7414259" cy="6065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3017011" y="18414"/>
            <a:ext cx="5212589" cy="335988"/>
          </a:xfrm>
          <a:prstGeom prst="rect">
            <a:avLst/>
          </a:prstGeom>
        </p:spPr>
        <p:txBody>
          <a:bodyPr vert="horz" wrap="square" lIns="0" tIns="12699" rIns="0" bIns="0" rtlCol="0">
            <a:spAutoFit/>
          </a:bodyPr>
          <a:lstStyle/>
          <a:p>
            <a:pPr marL="12699" algn="ctr">
              <a:spcBef>
                <a:spcPts val="100"/>
              </a:spcBef>
            </a:pPr>
            <a:r>
              <a:rPr lang="en-US" sz="2100" b="1" dirty="0">
                <a:solidFill>
                  <a:srgbClr val="FFFFFF"/>
                </a:solidFill>
                <a:latin typeface="Arial"/>
                <a:cs typeface="Arial"/>
              </a:rPr>
              <a:t>    Lebanon in Particular</a:t>
            </a:r>
            <a:endParaRPr sz="2100" dirty="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1032238" y="6105247"/>
            <a:ext cx="1159762" cy="752755"/>
          </a:xfrm>
          <a:prstGeom prst="rect">
            <a:avLst/>
          </a:prstGeom>
          <a:blipFill>
            <a:blip r:embed="rId3" cstate="print"/>
            <a:srcRect/>
            <a:stretch>
              <a:fillRect b="-13376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Rectangle 1"/>
          <p:cNvSpPr/>
          <p:nvPr/>
        </p:nvSpPr>
        <p:spPr>
          <a:xfrm>
            <a:off x="516638" y="919533"/>
            <a:ext cx="10515600" cy="553996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endParaRPr lang="en-US" sz="1500" b="1" kern="1200" dirty="0">
              <a:solidFill>
                <a:srgbClr val="002060"/>
              </a:solidFill>
            </a:endParaRPr>
          </a:p>
          <a:p>
            <a:endParaRPr lang="en-US" sz="1500" b="1" kern="1200" dirty="0">
              <a:solidFill>
                <a:srgbClr val="00206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657600" y="1284159"/>
            <a:ext cx="4648200" cy="6463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6" tIns="45716" rIns="45716" bIns="45716" numCol="1" spcCol="38098" rtlCol="0" anchor="t">
            <a:spAutoFit/>
          </a:bodyPr>
          <a:lstStyle/>
          <a:p>
            <a:pPr algn="ctr" defTabSz="914363"/>
            <a:r>
              <a:rPr lang="en-US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st Regulatory approach for a better Telecom Sector Performance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219200" y="1358040"/>
            <a:ext cx="1164734" cy="3693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6" tIns="45716" rIns="45716" bIns="45716" numCol="1" spcCol="38098" rtlCol="0" anchor="t">
            <a:spAutoFit/>
          </a:bodyPr>
          <a:lstStyle/>
          <a:p>
            <a:pPr defTabSz="914363"/>
            <a:r>
              <a:rPr lang="en-US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gital Lira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917804" y="1497216"/>
            <a:ext cx="2767737" cy="3693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6" tIns="45716" rIns="45716" bIns="45716" numCol="1" spcCol="38098" rtlCol="0" anchor="t">
            <a:spAutoFit/>
          </a:bodyPr>
          <a:lstStyle/>
          <a:p>
            <a:pPr algn="ctr" defTabSz="914363"/>
            <a:r>
              <a:rPr lang="en-US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art &amp; Secure Port Project</a:t>
            </a:r>
          </a:p>
        </p:txBody>
      </p:sp>
      <p:pic>
        <p:nvPicPr>
          <p:cNvPr id="12" name="Picture 2" descr="Image result for DIGITAL LIRA LEBAN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749"/>
          <a:stretch/>
        </p:blipFill>
        <p:spPr bwMode="auto">
          <a:xfrm>
            <a:off x="192981" y="2286000"/>
            <a:ext cx="3617020" cy="26806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1012" y="2286000"/>
            <a:ext cx="4012785" cy="26751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37" name="Picture 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2288748"/>
            <a:ext cx="4190505" cy="26751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53132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bject 37"/>
          <p:cNvSpPr/>
          <p:nvPr/>
        </p:nvSpPr>
        <p:spPr>
          <a:xfrm>
            <a:off x="2214374" y="2"/>
            <a:ext cx="7414259" cy="6065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3411501" y="166662"/>
            <a:ext cx="5022987" cy="335988"/>
          </a:xfrm>
          <a:prstGeom prst="rect">
            <a:avLst/>
          </a:prstGeom>
        </p:spPr>
        <p:txBody>
          <a:bodyPr vert="horz" wrap="square" lIns="0" tIns="12699" rIns="0" bIns="0" rtlCol="0">
            <a:spAutoFit/>
          </a:bodyPr>
          <a:lstStyle/>
          <a:p>
            <a:pPr marL="12699">
              <a:spcBef>
                <a:spcPts val="100"/>
              </a:spcBef>
            </a:pPr>
            <a:r>
              <a:rPr lang="en-US" sz="2100" b="1" dirty="0">
                <a:solidFill>
                  <a:srgbClr val="FFFFFF"/>
                </a:solidFill>
                <a:latin typeface="Arial"/>
                <a:cs typeface="Arial"/>
              </a:rPr>
              <a:t>                 Lebanon in Particular</a:t>
            </a:r>
            <a:endParaRPr sz="2100" dirty="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1032238" y="6105247"/>
            <a:ext cx="1159762" cy="752755"/>
          </a:xfrm>
          <a:prstGeom prst="rect">
            <a:avLst/>
          </a:prstGeom>
          <a:blipFill>
            <a:blip r:embed="rId3" cstate="print"/>
            <a:srcRect/>
            <a:stretch>
              <a:fillRect b="-13376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TextBox 26"/>
          <p:cNvSpPr txBox="1"/>
          <p:nvPr/>
        </p:nvSpPr>
        <p:spPr>
          <a:xfrm>
            <a:off x="149586" y="1524000"/>
            <a:ext cx="3277492" cy="3693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6" tIns="45716" rIns="45716" bIns="45716" numCol="1" spcCol="38098" rtlCol="0" anchor="t">
            <a:spAutoFit/>
          </a:bodyPr>
          <a:lstStyle/>
          <a:p>
            <a:pPr defTabSz="914363"/>
            <a:r>
              <a:rPr lang="en-US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I cameras POC for fire detection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021812" y="1385500"/>
            <a:ext cx="3962400" cy="6463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6" tIns="45716" rIns="45716" bIns="45716" numCol="1" spcCol="38098" rtlCol="0" anchor="t">
            <a:spAutoFit/>
          </a:bodyPr>
          <a:lstStyle/>
          <a:p>
            <a:pPr algn="ctr" defTabSz="914363"/>
            <a:r>
              <a:rPr lang="en-US" b="1" dirty="0">
                <a:solidFill>
                  <a:srgbClr val="002060"/>
                </a:solidFill>
              </a:rPr>
              <a:t>Command &amp; Control Center</a:t>
            </a:r>
          </a:p>
          <a:p>
            <a:pPr algn="ctr" defTabSz="914363"/>
            <a:r>
              <a:rPr lang="en-US" b="1" dirty="0">
                <a:solidFill>
                  <a:srgbClr val="002060"/>
                </a:solidFill>
              </a:rPr>
              <a:t>For disaster managemen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039998" y="1368660"/>
            <a:ext cx="4119406" cy="6463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6" tIns="45716" rIns="45716" bIns="45716" numCol="1" spcCol="38098" rtlCol="0" anchor="t">
            <a:spAutoFit/>
          </a:bodyPr>
          <a:lstStyle/>
          <a:p>
            <a:pPr algn="ctr" defTabSz="914363"/>
            <a:r>
              <a:rPr lang="en-US" b="1" dirty="0">
                <a:solidFill>
                  <a:srgbClr val="002060"/>
                </a:solidFill>
              </a:rPr>
              <a:t>Speed up the deployment of 5G and FTTX in the remote areas</a:t>
            </a: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44" y="2272799"/>
            <a:ext cx="3777872" cy="283812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2" name="Picture 2" descr="Image result for command and control center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356" y="2313265"/>
            <a:ext cx="4125419" cy="27311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1443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58"/>
          <a:stretch/>
        </p:blipFill>
        <p:spPr bwMode="auto">
          <a:xfrm>
            <a:off x="8062615" y="2370563"/>
            <a:ext cx="4074173" cy="261658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5383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" name="Rectangle 9"/>
          <p:cNvSpPr/>
          <p:nvPr/>
        </p:nvSpPr>
        <p:spPr>
          <a:xfrm>
            <a:off x="-9524" y="0"/>
            <a:ext cx="12192007" cy="6858000"/>
          </a:xfrm>
          <a:prstGeom prst="rect">
            <a:avLst/>
          </a:prstGeom>
          <a:gradFill>
            <a:gsLst>
              <a:gs pos="0">
                <a:srgbClr val="182C87"/>
              </a:gs>
              <a:gs pos="100000">
                <a:srgbClr val="E60040"/>
              </a:gs>
            </a:gsLst>
            <a:lin ang="19860000"/>
          </a:gradFill>
          <a:ln w="12700">
            <a:miter lim="400000"/>
          </a:ln>
        </p:spPr>
        <p:txBody>
          <a:bodyPr lIns="45716" tIns="45716" rIns="45716" bIns="45716" anchor="ctr"/>
          <a:lstStyle/>
          <a:p>
            <a:pPr algn="ctr" defTabSz="914363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Roboto Light"/>
              </a:defRPr>
            </a:pPr>
            <a:endParaRPr>
              <a:solidFill>
                <a:srgbClr val="FFFFFF"/>
              </a:solidFill>
              <a:latin typeface="Roboto Light"/>
              <a:ea typeface="+mj-ea"/>
              <a:cs typeface="+mj-cs"/>
              <a:sym typeface="Roboto Ligh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29001" y="2438401"/>
            <a:ext cx="5562600" cy="14465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6" tIns="45716" rIns="45716" bIns="45716" numCol="1" spcCol="38098" rtlCol="0" anchor="t">
            <a:spAutoFit/>
          </a:bodyPr>
          <a:lstStyle/>
          <a:p>
            <a:pPr defTabSz="914363"/>
            <a:r>
              <a:rPr lang="en-US" sz="8800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02338404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9" name="Picture Placeholder 1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607" name="Rectangle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>
                <a:defRPr>
                  <a:latin typeface="+mj-lt"/>
                  <a:ea typeface="+mj-ea"/>
                  <a:cs typeface="+mj-cs"/>
                  <a:sym typeface="Roboto Light"/>
                </a:defRPr>
              </a:pPr>
              <a:endParaRPr/>
            </a:p>
          </p:txBody>
        </p:sp>
        <p:pic>
          <p:nvPicPr>
            <p:cNvPr id="608" name="image5.jpeg" descr="image5.jpeg"/>
            <p:cNvPicPr>
              <a:picLocks noChangeAspect="1"/>
            </p:cNvPicPr>
            <p:nvPr/>
          </p:nvPicPr>
          <p:blipFill>
            <a:blip r:embed="rId2"/>
            <a:srcRect t="3125" b="3125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610" name="Oval 15"/>
          <p:cNvSpPr/>
          <p:nvPr/>
        </p:nvSpPr>
        <p:spPr>
          <a:xfrm>
            <a:off x="642427" y="685800"/>
            <a:ext cx="5486407" cy="5486400"/>
          </a:xfrm>
          <a:prstGeom prst="ellipse">
            <a:avLst/>
          </a:prstGeom>
          <a:solidFill>
            <a:srgbClr val="FFFFFF">
              <a:alpha val="50000"/>
            </a:srgbClr>
          </a:solidFill>
          <a:ln w="12700">
            <a:miter lim="400000"/>
          </a:ln>
        </p:spPr>
        <p:txBody>
          <a:bodyPr lIns="45712" tIns="45712" rIns="45712" bIns="45712" anchor="ctr"/>
          <a:lstStyle/>
          <a:p>
            <a:pPr algn="ctr">
              <a:defRPr sz="2400">
                <a:solidFill>
                  <a:srgbClr val="FFFFFF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11" name="Oval 26"/>
          <p:cNvSpPr/>
          <p:nvPr/>
        </p:nvSpPr>
        <p:spPr>
          <a:xfrm>
            <a:off x="871026" y="914401"/>
            <a:ext cx="5029202" cy="5029200"/>
          </a:xfrm>
          <a:prstGeom prst="ellipse">
            <a:avLst/>
          </a:prstGeom>
          <a:gradFill>
            <a:gsLst>
              <a:gs pos="0">
                <a:srgbClr val="182C87"/>
              </a:gs>
              <a:gs pos="100000">
                <a:srgbClr val="E60040"/>
              </a:gs>
            </a:gsLst>
            <a:lin ang="19860000"/>
          </a:gradFill>
          <a:ln w="12700">
            <a:miter lim="400000"/>
          </a:ln>
        </p:spPr>
        <p:txBody>
          <a:bodyPr lIns="45712" tIns="45712" rIns="45712" bIns="45712" anchor="ctr"/>
          <a:lstStyle/>
          <a:p>
            <a:pPr algn="ctr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Roboto Light"/>
              </a:defRPr>
            </a:pPr>
            <a:endParaRPr/>
          </a:p>
        </p:txBody>
      </p:sp>
      <p:sp>
        <p:nvSpPr>
          <p:cNvPr id="612" name="TextBox 4"/>
          <p:cNvSpPr txBox="1"/>
          <p:nvPr/>
        </p:nvSpPr>
        <p:spPr>
          <a:xfrm>
            <a:off x="990600" y="2873104"/>
            <a:ext cx="4724400" cy="11079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2" tIns="45712" rIns="45712" bIns="45712">
            <a:spAutoFit/>
          </a:bodyPr>
          <a:lstStyle/>
          <a:p>
            <a:pPr>
              <a:lnSpc>
                <a:spcPct val="150000"/>
              </a:lnSpc>
              <a:defRPr sz="5400">
                <a:solidFill>
                  <a:srgbClr val="FFFFF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altLang="en-US" sz="4400" dirty="0">
                <a:solidFill>
                  <a:srgbClr val="FFFFFF"/>
                </a:solidFill>
                <a:latin typeface="Roboto Slab Regular"/>
              </a:rPr>
              <a:t>Projects Overview</a:t>
            </a:r>
          </a:p>
        </p:txBody>
      </p:sp>
      <p:pic>
        <p:nvPicPr>
          <p:cNvPr id="8" name="Picture 7" descr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4029" y="5867402"/>
            <a:ext cx="1995101" cy="829723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2"/>
          </p:nvPr>
        </p:nvSpPr>
        <p:spPr>
          <a:xfrm>
            <a:off x="5996015" y="6278395"/>
            <a:ext cx="177275" cy="276983"/>
          </a:xfrm>
        </p:spPr>
        <p:txBody>
          <a:bodyPr/>
          <a:lstStyle/>
          <a:p>
            <a:fld id="{86CB4B4D-7CA3-9044-876B-883B54F8677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315262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文本框 60"/>
          <p:cNvSpPr txBox="1"/>
          <p:nvPr/>
        </p:nvSpPr>
        <p:spPr>
          <a:xfrm>
            <a:off x="347445" y="811012"/>
            <a:ext cx="10914587" cy="842974"/>
          </a:xfrm>
          <a:prstGeom prst="rect">
            <a:avLst/>
          </a:prstGeom>
          <a:noFill/>
        </p:spPr>
        <p:txBody>
          <a:bodyPr wrap="square" lIns="91436" tIns="45719" rIns="91436" bIns="45719" rtlCol="0" anchor="t">
            <a:no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kern="1200" dirty="0">
                <a:solidFill>
                  <a:srgbClr val="002060"/>
                </a:solidFill>
              </a:rPr>
              <a:t>Trend of service development: Digital and Multi-play</a:t>
            </a:r>
          </a:p>
        </p:txBody>
      </p:sp>
      <p:sp>
        <p:nvSpPr>
          <p:cNvPr id="22" name="任意多边形 21"/>
          <p:cNvSpPr/>
          <p:nvPr/>
        </p:nvSpPr>
        <p:spPr bwMode="auto">
          <a:xfrm>
            <a:off x="632171" y="3827111"/>
            <a:ext cx="10345137" cy="1498018"/>
          </a:xfrm>
          <a:custGeom>
            <a:avLst/>
            <a:gdLst>
              <a:gd name="connsiteX0" fmla="*/ 0 w 9562290"/>
              <a:gd name="connsiteY0" fmla="*/ 1498060 h 1498060"/>
              <a:gd name="connsiteX1" fmla="*/ 4134255 w 9562290"/>
              <a:gd name="connsiteY1" fmla="*/ 1118681 h 1498060"/>
              <a:gd name="connsiteX2" fmla="*/ 7976681 w 9562290"/>
              <a:gd name="connsiteY2" fmla="*/ 642026 h 1498060"/>
              <a:gd name="connsiteX3" fmla="*/ 9562290 w 9562290"/>
              <a:gd name="connsiteY3" fmla="*/ 0 h 1498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62290" h="1498060">
                <a:moveTo>
                  <a:pt x="0" y="1498060"/>
                </a:moveTo>
                <a:lnTo>
                  <a:pt x="4134255" y="1118681"/>
                </a:lnTo>
                <a:cubicBezTo>
                  <a:pt x="5463702" y="976009"/>
                  <a:pt x="7072009" y="828473"/>
                  <a:pt x="7976681" y="642026"/>
                </a:cubicBezTo>
                <a:cubicBezTo>
                  <a:pt x="8881353" y="455579"/>
                  <a:pt x="9221821" y="227789"/>
                  <a:pt x="9562290" y="0"/>
                </a:cubicBezTo>
              </a:path>
            </a:pathLst>
          </a:custGeom>
          <a:noFill/>
          <a:ln w="762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79080" tIns="39543" rIns="79080" bIns="39543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00468" hangingPunct="1"/>
            <a:endParaRPr lang="zh-CN" altLang="en-US" sz="1300" kern="1200" dirty="0">
              <a:solidFill>
                <a:srgbClr val="18397D"/>
              </a:solidFill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23" name="椭圆 22"/>
          <p:cNvSpPr/>
          <p:nvPr/>
        </p:nvSpPr>
        <p:spPr bwMode="auto">
          <a:xfrm>
            <a:off x="558268" y="3676987"/>
            <a:ext cx="1403981" cy="1296106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79080" tIns="39543" rIns="79080" bIns="39543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00468" hangingPunct="1"/>
            <a:endParaRPr lang="zh-CN" altLang="en-US" sz="1300" kern="1200" dirty="0">
              <a:solidFill>
                <a:srgbClr val="18397D"/>
              </a:solidFill>
              <a:ea typeface="ＭＳ Ｐゴシック" pitchFamily="34" charset="-128"/>
              <a:cs typeface="Calibri" pitchFamily="34" charset="0"/>
            </a:endParaRPr>
          </a:p>
        </p:txBody>
      </p:sp>
      <p:pic>
        <p:nvPicPr>
          <p:cNvPr id="24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171" y="4145753"/>
            <a:ext cx="591152" cy="4139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97216" y="3879872"/>
            <a:ext cx="591152" cy="681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9"/>
          <p:cNvSpPr txBox="1"/>
          <p:nvPr/>
        </p:nvSpPr>
        <p:spPr>
          <a:xfrm>
            <a:off x="680867" y="5386203"/>
            <a:ext cx="1325467" cy="55386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91301" tIns="45652" rIns="91301" bIns="45652" rtlCol="0">
            <a:spAutoFit/>
          </a:bodyPr>
          <a:lstStyle/>
          <a:p>
            <a:pPr defTabSz="914260" hangingPunct="1"/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1. Fixed phone</a:t>
            </a:r>
            <a:b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</a:br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2. Analog TV</a:t>
            </a:r>
          </a:p>
        </p:txBody>
      </p:sp>
      <p:sp>
        <p:nvSpPr>
          <p:cNvPr id="27" name="椭圆 26"/>
          <p:cNvSpPr/>
          <p:nvPr/>
        </p:nvSpPr>
        <p:spPr bwMode="auto">
          <a:xfrm>
            <a:off x="2647163" y="3377225"/>
            <a:ext cx="1625664" cy="1440118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79080" tIns="39543" rIns="79080" bIns="39543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00468" hangingPunct="1"/>
            <a:endParaRPr lang="zh-CN" altLang="en-US" sz="1300" kern="1200" dirty="0">
              <a:solidFill>
                <a:srgbClr val="18397D"/>
              </a:solidFill>
              <a:ea typeface="ＭＳ Ｐゴシック" pitchFamily="34" charset="-128"/>
              <a:cs typeface="Calibri" pitchFamily="34" charset="0"/>
            </a:endParaRPr>
          </a:p>
        </p:txBody>
      </p:sp>
      <p:pic>
        <p:nvPicPr>
          <p:cNvPr id="28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42734" y="4187877"/>
            <a:ext cx="443362" cy="310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33884" y="4043861"/>
            <a:ext cx="443362" cy="510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" name="TextBox 24"/>
          <p:cNvSpPr txBox="1"/>
          <p:nvPr/>
        </p:nvSpPr>
        <p:spPr>
          <a:xfrm>
            <a:off x="2629218" y="5263121"/>
            <a:ext cx="2053615" cy="784693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91301" tIns="45652" rIns="91301" bIns="45652" rtlCol="0">
            <a:spAutoFit/>
          </a:bodyPr>
          <a:lstStyle/>
          <a:p>
            <a:pPr marL="304547" indent="-304547" defTabSz="914260" hangingPunct="1">
              <a:buFontTx/>
              <a:buAutoNum type="arabicPeriod"/>
            </a:pPr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Broadband (copper)</a:t>
            </a:r>
          </a:p>
          <a:p>
            <a:pPr marL="304547" indent="-304547" defTabSz="914260" hangingPunct="1">
              <a:buFontTx/>
              <a:buAutoNum type="arabicPeriod"/>
            </a:pPr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Internet</a:t>
            </a:r>
          </a:p>
          <a:p>
            <a:pPr marL="304547" indent="-304547" defTabSz="914260" hangingPunct="1">
              <a:buFontTx/>
              <a:buAutoNum type="arabicPeriod"/>
            </a:pPr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Digital TV</a:t>
            </a:r>
          </a:p>
        </p:txBody>
      </p:sp>
      <p:sp>
        <p:nvSpPr>
          <p:cNvPr id="40" name="TextBox 32"/>
          <p:cNvSpPr txBox="1"/>
          <p:nvPr/>
        </p:nvSpPr>
        <p:spPr>
          <a:xfrm>
            <a:off x="5308654" y="4991559"/>
            <a:ext cx="2729956" cy="1246358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91301" tIns="45652" rIns="91301" bIns="45652" rtlCol="0">
            <a:spAutoFit/>
          </a:bodyPr>
          <a:lstStyle/>
          <a:p>
            <a:pPr marL="304547" indent="-304547" defTabSz="914260" hangingPunct="1">
              <a:buFontTx/>
              <a:buAutoNum type="arabicPeriod"/>
            </a:pPr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Big broadband (fiber optic)</a:t>
            </a:r>
          </a:p>
          <a:p>
            <a:pPr marL="304547" indent="-304547" defTabSz="914260" hangingPunct="1">
              <a:buFontTx/>
              <a:buAutoNum type="arabicPeriod"/>
            </a:pPr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Internet /VoIP </a:t>
            </a:r>
          </a:p>
          <a:p>
            <a:pPr marL="304547" indent="-304547" defTabSz="914260" hangingPunct="1">
              <a:buFontTx/>
              <a:buAutoNum type="arabicPeriod"/>
            </a:pPr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IPTV(Interactive)</a:t>
            </a:r>
          </a:p>
          <a:p>
            <a:pPr marL="304547" indent="-304547" defTabSz="914260" hangingPunct="1">
              <a:buFontTx/>
              <a:buAutoNum type="arabicPeriod"/>
            </a:pPr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OTT</a:t>
            </a:r>
          </a:p>
          <a:p>
            <a:pPr marL="304547" indent="-304547" defTabSz="914260" hangingPunct="1">
              <a:buFontTx/>
              <a:buAutoNum type="arabicPeriod"/>
            </a:pPr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Game</a:t>
            </a:r>
          </a:p>
        </p:txBody>
      </p:sp>
      <p:sp>
        <p:nvSpPr>
          <p:cNvPr id="41" name="椭圆 40"/>
          <p:cNvSpPr/>
          <p:nvPr/>
        </p:nvSpPr>
        <p:spPr bwMode="auto">
          <a:xfrm>
            <a:off x="5213585" y="2687490"/>
            <a:ext cx="1995133" cy="1872154"/>
          </a:xfrm>
          <a:prstGeom prst="ellipse">
            <a:avLst/>
          </a:prstGeom>
          <a:ln>
            <a:solidFill>
              <a:schemeClr val="tx2">
                <a:lumMod val="20000"/>
                <a:lumOff val="80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79080" tIns="39543" rIns="79080" bIns="39543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00468" hangingPunct="1"/>
            <a:endParaRPr lang="zh-CN" altLang="en-US" sz="1300" kern="1200" dirty="0">
              <a:solidFill>
                <a:srgbClr val="18397D"/>
              </a:solidFill>
              <a:ea typeface="ＭＳ Ｐゴシック" pitchFamily="34" charset="-128"/>
              <a:cs typeface="Calibri" pitchFamily="34" charset="0"/>
            </a:endParaRPr>
          </a:p>
        </p:txBody>
      </p:sp>
      <p:pic>
        <p:nvPicPr>
          <p:cNvPr id="4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09157" y="3911605"/>
            <a:ext cx="334605" cy="248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52519" y="3767581"/>
            <a:ext cx="813948" cy="512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TextBox 38"/>
          <p:cNvSpPr txBox="1"/>
          <p:nvPr/>
        </p:nvSpPr>
        <p:spPr>
          <a:xfrm>
            <a:off x="8847115" y="4415545"/>
            <a:ext cx="3030647" cy="1938855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91301" tIns="45652" rIns="91301" bIns="45652" rtlCol="0">
            <a:spAutoFit/>
          </a:bodyPr>
          <a:lstStyle/>
          <a:p>
            <a:pPr marL="304547" indent="-304547" defTabSz="914260" hangingPunct="1"/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1. Ultra BB </a:t>
            </a:r>
          </a:p>
          <a:p>
            <a:pPr marL="304547" indent="-304547" defTabSz="914260" hangingPunct="1"/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2. HSI/VoIP/Vide Call </a:t>
            </a:r>
          </a:p>
          <a:p>
            <a:pPr marL="304547" indent="-304547" defTabSz="914260" hangingPunct="1"/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3. Home entertainment </a:t>
            </a:r>
          </a:p>
          <a:p>
            <a:pPr marL="304547" indent="-304547" defTabSz="914260" hangingPunct="1"/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4. Home security</a:t>
            </a:r>
          </a:p>
          <a:p>
            <a:pPr marL="304547" indent="-304547" defTabSz="914260" hangingPunct="1"/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5. Appliances automation</a:t>
            </a:r>
          </a:p>
          <a:p>
            <a:pPr defTabSz="914260" hangingPunct="1"/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6. Health management</a:t>
            </a:r>
          </a:p>
          <a:p>
            <a:pPr defTabSz="914260" hangingPunct="1"/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7. Energy management</a:t>
            </a:r>
          </a:p>
          <a:p>
            <a:pPr defTabSz="914260" hangingPunct="1"/>
            <a:r>
              <a:rPr lang="en-US" altLang="zh-CN" sz="1500" kern="1200" dirty="0">
                <a:solidFill>
                  <a:srgbClr val="18397D"/>
                </a:solidFill>
                <a:cs typeface="Calibri" pitchFamily="34" charset="0"/>
              </a:rPr>
              <a:t>8. Shopping…</a:t>
            </a:r>
          </a:p>
        </p:txBody>
      </p:sp>
      <p:pic>
        <p:nvPicPr>
          <p:cNvPr id="45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90525" y="3611823"/>
            <a:ext cx="691772" cy="432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43669" y="3407548"/>
            <a:ext cx="395784" cy="31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09165" y="3407553"/>
            <a:ext cx="172421" cy="360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1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681586" y="2883032"/>
            <a:ext cx="591152" cy="43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TextBox 43"/>
          <p:cNvSpPr txBox="1"/>
          <p:nvPr/>
        </p:nvSpPr>
        <p:spPr>
          <a:xfrm>
            <a:off x="556811" y="3258434"/>
            <a:ext cx="1480894" cy="323028"/>
          </a:xfrm>
          <a:prstGeom prst="rect">
            <a:avLst/>
          </a:prstGeom>
          <a:noFill/>
        </p:spPr>
        <p:txBody>
          <a:bodyPr wrap="none" lIns="91301" tIns="45652" rIns="91301" bIns="45652" rtlCol="0">
            <a:spAutoFit/>
          </a:bodyPr>
          <a:lstStyle/>
          <a:p>
            <a:pPr defTabSz="914260" hangingPunct="1"/>
            <a:r>
              <a:rPr lang="en-US" altLang="zh-CN" sz="1500" b="1" kern="1200" spc="121" dirty="0">
                <a:solidFill>
                  <a:srgbClr val="18397D"/>
                </a:solidFill>
                <a:ea typeface="微软雅黑" pitchFamily="34" charset="-122"/>
                <a:cs typeface="Calibri" pitchFamily="34" charset="0"/>
              </a:rPr>
              <a:t>Phone@home</a:t>
            </a:r>
            <a:endParaRPr lang="zh-CN" altLang="en-US" sz="1500" b="1" kern="1200" spc="121" dirty="0">
              <a:solidFill>
                <a:srgbClr val="18397D"/>
              </a:solidFill>
              <a:ea typeface="微软雅黑" pitchFamily="34" charset="-122"/>
              <a:cs typeface="Calibri" pitchFamily="34" charset="0"/>
            </a:endParaRPr>
          </a:p>
        </p:txBody>
      </p:sp>
      <p:sp>
        <p:nvSpPr>
          <p:cNvPr id="50" name="TextBox 44"/>
          <p:cNvSpPr txBox="1"/>
          <p:nvPr/>
        </p:nvSpPr>
        <p:spPr>
          <a:xfrm>
            <a:off x="2544084" y="2963773"/>
            <a:ext cx="1917296" cy="323028"/>
          </a:xfrm>
          <a:prstGeom prst="rect">
            <a:avLst/>
          </a:prstGeom>
          <a:noFill/>
        </p:spPr>
        <p:txBody>
          <a:bodyPr wrap="none" lIns="91301" tIns="45652" rIns="91301" bIns="45652" rtlCol="0">
            <a:spAutoFit/>
          </a:bodyPr>
          <a:lstStyle/>
          <a:p>
            <a:pPr defTabSz="914260" hangingPunct="1"/>
            <a:r>
              <a:rPr lang="en-US" altLang="zh-CN" sz="1500" b="1" kern="1200" spc="121" dirty="0">
                <a:solidFill>
                  <a:srgbClr val="18397D"/>
                </a:solidFill>
                <a:ea typeface="微软雅黑" pitchFamily="34" charset="-122"/>
                <a:cs typeface="Calibri" pitchFamily="34" charset="0"/>
              </a:rPr>
              <a:t>BroadBand@home</a:t>
            </a:r>
            <a:endParaRPr lang="zh-CN" altLang="en-US" sz="1500" b="1" kern="1200" spc="121" dirty="0">
              <a:solidFill>
                <a:srgbClr val="18397D"/>
              </a:solidFill>
              <a:ea typeface="微软雅黑" pitchFamily="34" charset="-122"/>
              <a:cs typeface="Calibri" pitchFamily="34" charset="0"/>
            </a:endParaRPr>
          </a:p>
        </p:txBody>
      </p:sp>
      <p:sp>
        <p:nvSpPr>
          <p:cNvPr id="51" name="TextBox 45"/>
          <p:cNvSpPr txBox="1"/>
          <p:nvPr/>
        </p:nvSpPr>
        <p:spPr>
          <a:xfrm>
            <a:off x="5095932" y="2336881"/>
            <a:ext cx="2051691" cy="323028"/>
          </a:xfrm>
          <a:prstGeom prst="rect">
            <a:avLst/>
          </a:prstGeom>
          <a:noFill/>
        </p:spPr>
        <p:txBody>
          <a:bodyPr wrap="none" lIns="91301" tIns="45652" rIns="91301" bIns="45652" rtlCol="0">
            <a:spAutoFit/>
          </a:bodyPr>
          <a:lstStyle/>
          <a:p>
            <a:pPr defTabSz="914260" hangingPunct="1"/>
            <a:r>
              <a:rPr lang="en-US" altLang="zh-CN" sz="1500" b="1" kern="1200" spc="121" dirty="0">
                <a:solidFill>
                  <a:srgbClr val="18397D"/>
                </a:solidFill>
                <a:ea typeface="微软雅黑" pitchFamily="34" charset="-122"/>
                <a:cs typeface="Calibri" pitchFamily="34" charset="0"/>
              </a:rPr>
              <a:t>Smart </a:t>
            </a:r>
            <a:r>
              <a:rPr lang="en-US" altLang="zh-CN" sz="1500" b="1" kern="1200" spc="121" dirty="0" err="1">
                <a:solidFill>
                  <a:srgbClr val="18397D"/>
                </a:solidFill>
                <a:ea typeface="微软雅黑" pitchFamily="34" charset="-122"/>
                <a:cs typeface="Calibri" pitchFamily="34" charset="0"/>
              </a:rPr>
              <a:t>Video@home</a:t>
            </a:r>
            <a:endParaRPr lang="zh-CN" altLang="en-US" sz="1500" b="1" kern="1200" spc="121" dirty="0">
              <a:solidFill>
                <a:srgbClr val="18397D"/>
              </a:solidFill>
              <a:ea typeface="微软雅黑" pitchFamily="34" charset="-122"/>
              <a:cs typeface="Calibri" pitchFamily="34" charset="0"/>
            </a:endParaRPr>
          </a:p>
        </p:txBody>
      </p:sp>
      <p:sp>
        <p:nvSpPr>
          <p:cNvPr id="52" name="TextBox 46"/>
          <p:cNvSpPr txBox="1"/>
          <p:nvPr/>
        </p:nvSpPr>
        <p:spPr>
          <a:xfrm>
            <a:off x="8295648" y="1484809"/>
            <a:ext cx="1978081" cy="323028"/>
          </a:xfrm>
          <a:prstGeom prst="rect">
            <a:avLst/>
          </a:prstGeom>
          <a:noFill/>
        </p:spPr>
        <p:txBody>
          <a:bodyPr wrap="none" lIns="91301" tIns="45652" rIns="91301" bIns="45652" rtlCol="0">
            <a:spAutoFit/>
          </a:bodyPr>
          <a:lstStyle/>
          <a:p>
            <a:pPr defTabSz="914260" hangingPunct="1"/>
            <a:r>
              <a:rPr lang="en-US" altLang="zh-CN" sz="1500" b="1" kern="1200" spc="121" dirty="0">
                <a:solidFill>
                  <a:srgbClr val="18397D"/>
                </a:solidFill>
                <a:ea typeface="微软雅黑" pitchFamily="34" charset="-122"/>
                <a:cs typeface="Calibri" pitchFamily="34" charset="0"/>
              </a:rPr>
              <a:t>Digital Life @home</a:t>
            </a:r>
            <a:endParaRPr lang="zh-CN" altLang="en-US" sz="1500" b="1" kern="1200" spc="121" dirty="0">
              <a:solidFill>
                <a:srgbClr val="18397D"/>
              </a:solidFill>
              <a:ea typeface="微软雅黑" pitchFamily="34" charset="-122"/>
              <a:cs typeface="Calibri" pitchFamily="34" charset="0"/>
            </a:endParaRPr>
          </a:p>
        </p:txBody>
      </p:sp>
      <p:sp>
        <p:nvSpPr>
          <p:cNvPr id="53" name="椭圆 52"/>
          <p:cNvSpPr/>
          <p:nvPr/>
        </p:nvSpPr>
        <p:spPr bwMode="auto">
          <a:xfrm>
            <a:off x="8021546" y="1895423"/>
            <a:ext cx="2438496" cy="2376196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79080" tIns="39543" rIns="79080" bIns="39543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00468" hangingPunct="1"/>
            <a:endParaRPr lang="zh-CN" altLang="en-US" sz="1300" kern="1200" dirty="0">
              <a:solidFill>
                <a:srgbClr val="18397D"/>
              </a:solidFill>
              <a:ea typeface="ＭＳ Ｐゴシック" pitchFamily="34" charset="-128"/>
              <a:cs typeface="Calibri" pitchFamily="34" charset="0"/>
            </a:endParaRPr>
          </a:p>
        </p:txBody>
      </p:sp>
      <p:pic>
        <p:nvPicPr>
          <p:cNvPr id="54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833262" y="3551565"/>
            <a:ext cx="813947" cy="512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91014" y="3551573"/>
            <a:ext cx="334602" cy="248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" name="Picture 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464908" y="2224790"/>
            <a:ext cx="395784" cy="31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Picture 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292499" y="3119529"/>
            <a:ext cx="172421" cy="360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" name="Picture 1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69332" y="2615490"/>
            <a:ext cx="517256" cy="379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1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982166" y="2039441"/>
            <a:ext cx="295575" cy="298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1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425531" y="2111448"/>
            <a:ext cx="351296" cy="310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" name="Picture 1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9868894" y="2327467"/>
            <a:ext cx="259024" cy="42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" name="Picture 1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868903" y="2831504"/>
            <a:ext cx="513361" cy="198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" name="Picture 15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721105" y="3623570"/>
            <a:ext cx="295575" cy="27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16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0755619" y="2327470"/>
            <a:ext cx="1101027" cy="457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" name="Picture 17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 flipH="1">
            <a:off x="11051191" y="2903516"/>
            <a:ext cx="559104" cy="728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" name="Picture 19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9868892" y="3119535"/>
            <a:ext cx="470709" cy="448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" name="Picture 20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0533938" y="3047523"/>
            <a:ext cx="416944" cy="425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矩形 68"/>
          <p:cNvSpPr/>
          <p:nvPr/>
        </p:nvSpPr>
        <p:spPr bwMode="auto">
          <a:xfrm>
            <a:off x="4844107" y="2338333"/>
            <a:ext cx="2734072" cy="2293321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080" tIns="39543" rIns="79080" bIns="39543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00468" hangingPunct="1"/>
            <a:endParaRPr lang="zh-CN" altLang="en-US" sz="1300" kern="1200" dirty="0">
              <a:solidFill>
                <a:srgbClr val="18397D"/>
              </a:solidFill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70" name="TextBox 64"/>
          <p:cNvSpPr txBox="1"/>
          <p:nvPr/>
        </p:nvSpPr>
        <p:spPr>
          <a:xfrm>
            <a:off x="7559567" y="4190325"/>
            <a:ext cx="699334" cy="369195"/>
          </a:xfrm>
          <a:prstGeom prst="rect">
            <a:avLst/>
          </a:prstGeom>
          <a:noFill/>
        </p:spPr>
        <p:txBody>
          <a:bodyPr wrap="none" lIns="91301" tIns="45652" rIns="91301" bIns="45652" rtlCol="0">
            <a:spAutoFit/>
          </a:bodyPr>
          <a:lstStyle/>
          <a:p>
            <a:pPr defTabSz="914260" hangingPunct="1"/>
            <a:r>
              <a:rPr lang="en-US" altLang="zh-CN" b="1" kern="1200" dirty="0">
                <a:solidFill>
                  <a:srgbClr val="18397D"/>
                </a:solidFill>
                <a:ea typeface="微软雅黑" pitchFamily="34" charset="-122"/>
                <a:cs typeface="Calibri" pitchFamily="34" charset="0"/>
              </a:rPr>
              <a:t>NOW</a:t>
            </a:r>
            <a:endParaRPr lang="zh-CN" altLang="en-US" b="1" kern="1200" dirty="0">
              <a:solidFill>
                <a:srgbClr val="18397D"/>
              </a:solidFill>
              <a:ea typeface="微软雅黑" pitchFamily="34" charset="-122"/>
              <a:cs typeface="Calibri" pitchFamily="34" charset="0"/>
            </a:endParaRPr>
          </a:p>
        </p:txBody>
      </p:sp>
      <p:pic>
        <p:nvPicPr>
          <p:cNvPr id="71" name="Picture 1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470894" y="3042090"/>
            <a:ext cx="295575" cy="298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" name="Freeform: Shape 111">
            <a:extLst>
              <a:ext uri="{FF2B5EF4-FFF2-40B4-BE49-F238E27FC236}">
                <a16:creationId xmlns:a16="http://schemas.microsoft.com/office/drawing/2014/main" id="{757583BF-B86D-4C24-A140-54BA4535AB58}"/>
              </a:ext>
            </a:extLst>
          </p:cNvPr>
          <p:cNvSpPr/>
          <p:nvPr/>
        </p:nvSpPr>
        <p:spPr>
          <a:xfrm>
            <a:off x="2819402" y="2"/>
            <a:ext cx="7414171" cy="622541"/>
          </a:xfrm>
          <a:custGeom>
            <a:avLst/>
            <a:gdLst>
              <a:gd name="connsiteX0" fmla="*/ 3701 w 9245158"/>
              <a:gd name="connsiteY0" fmla="*/ 0 h 952198"/>
              <a:gd name="connsiteX1" fmla="*/ 9241457 w 9245158"/>
              <a:gd name="connsiteY1" fmla="*/ 0 h 952198"/>
              <a:gd name="connsiteX2" fmla="*/ 9245158 w 9245158"/>
              <a:gd name="connsiteY2" fmla="*/ 29224 h 952198"/>
              <a:gd name="connsiteX3" fmla="*/ 4622579 w 9245158"/>
              <a:gd name="connsiteY3" fmla="*/ 952198 h 952198"/>
              <a:gd name="connsiteX4" fmla="*/ 0 w 9245158"/>
              <a:gd name="connsiteY4" fmla="*/ 29224 h 952198"/>
              <a:gd name="connsiteX5" fmla="*/ 3701 w 9245158"/>
              <a:gd name="connsiteY5" fmla="*/ 0 h 952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45158" h="952198">
                <a:moveTo>
                  <a:pt x="3701" y="0"/>
                </a:moveTo>
                <a:lnTo>
                  <a:pt x="9241457" y="0"/>
                </a:lnTo>
                <a:lnTo>
                  <a:pt x="9245158" y="29224"/>
                </a:lnTo>
                <a:cubicBezTo>
                  <a:pt x="9245158" y="538968"/>
                  <a:pt x="7175559" y="952198"/>
                  <a:pt x="4622579" y="952198"/>
                </a:cubicBezTo>
                <a:cubicBezTo>
                  <a:pt x="2069599" y="952198"/>
                  <a:pt x="0" y="538968"/>
                  <a:pt x="0" y="29224"/>
                </a:cubicBezTo>
                <a:lnTo>
                  <a:pt x="3701" y="0"/>
                </a:lnTo>
                <a:close/>
              </a:path>
            </a:pathLst>
          </a:custGeom>
          <a:gradFill flip="none" rotWithShape="1">
            <a:gsLst>
              <a:gs pos="0">
                <a:srgbClr val="FF0000"/>
              </a:gs>
              <a:gs pos="100000">
                <a:srgbClr val="6D5B97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 hangingPunct="0"/>
            <a:endParaRPr lang="en-US" kern="0" dirty="0">
              <a:solidFill>
                <a:srgbClr val="FFFFFF"/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095931" y="35626"/>
            <a:ext cx="3886233" cy="523218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kern="1200" dirty="0">
                <a:solidFill>
                  <a:schemeClr val="bg1"/>
                </a:solidFill>
              </a:rPr>
              <a:t>ICT Services Trend</a:t>
            </a:r>
            <a:endParaRPr lang="zh-CN" altLang="en-US" sz="2800" b="1" kern="1200" dirty="0">
              <a:solidFill>
                <a:schemeClr val="bg1"/>
              </a:solidFill>
            </a:endParaRPr>
          </a:p>
        </p:txBody>
      </p:sp>
      <p:sp>
        <p:nvSpPr>
          <p:cNvPr id="73" name="object 81"/>
          <p:cNvSpPr/>
          <p:nvPr/>
        </p:nvSpPr>
        <p:spPr>
          <a:xfrm>
            <a:off x="11013949" y="5992366"/>
            <a:ext cx="1159762" cy="85344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55907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文本框 60"/>
          <p:cNvSpPr txBox="1"/>
          <p:nvPr/>
        </p:nvSpPr>
        <p:spPr>
          <a:xfrm>
            <a:off x="384385" y="1871082"/>
            <a:ext cx="2819402" cy="582509"/>
          </a:xfrm>
          <a:prstGeom prst="rect">
            <a:avLst/>
          </a:prstGeom>
          <a:noFill/>
        </p:spPr>
        <p:txBody>
          <a:bodyPr wrap="square" lIns="91436" tIns="45719" rIns="91436" bIns="45719" rtlCol="0" anchor="t">
            <a:no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atin typeface="Helvetica" panose="020B0604020202020204" pitchFamily="34" charset="0"/>
                <a:cs typeface="Helvetica" panose="020B0604020202020204" pitchFamily="34" charset="0"/>
              </a:rPr>
              <a:t>	</a:t>
            </a:r>
            <a:r>
              <a:rPr lang="en-US" sz="2400" b="1" kern="1200" dirty="0">
                <a:solidFill>
                  <a:srgbClr val="002060"/>
                </a:solidFill>
              </a:rPr>
              <a:t>FTTX </a:t>
            </a:r>
          </a:p>
        </p:txBody>
      </p:sp>
      <p:sp>
        <p:nvSpPr>
          <p:cNvPr id="72" name="Freeform: Shape 111">
            <a:extLst>
              <a:ext uri="{FF2B5EF4-FFF2-40B4-BE49-F238E27FC236}">
                <a16:creationId xmlns:a16="http://schemas.microsoft.com/office/drawing/2014/main" id="{757583BF-B86D-4C24-A140-54BA4535AB58}"/>
              </a:ext>
            </a:extLst>
          </p:cNvPr>
          <p:cNvSpPr/>
          <p:nvPr/>
        </p:nvSpPr>
        <p:spPr>
          <a:xfrm>
            <a:off x="2819402" y="2"/>
            <a:ext cx="7414171" cy="622541"/>
          </a:xfrm>
          <a:custGeom>
            <a:avLst/>
            <a:gdLst>
              <a:gd name="connsiteX0" fmla="*/ 3701 w 9245158"/>
              <a:gd name="connsiteY0" fmla="*/ 0 h 952198"/>
              <a:gd name="connsiteX1" fmla="*/ 9241457 w 9245158"/>
              <a:gd name="connsiteY1" fmla="*/ 0 h 952198"/>
              <a:gd name="connsiteX2" fmla="*/ 9245158 w 9245158"/>
              <a:gd name="connsiteY2" fmla="*/ 29224 h 952198"/>
              <a:gd name="connsiteX3" fmla="*/ 4622579 w 9245158"/>
              <a:gd name="connsiteY3" fmla="*/ 952198 h 952198"/>
              <a:gd name="connsiteX4" fmla="*/ 0 w 9245158"/>
              <a:gd name="connsiteY4" fmla="*/ 29224 h 952198"/>
              <a:gd name="connsiteX5" fmla="*/ 3701 w 9245158"/>
              <a:gd name="connsiteY5" fmla="*/ 0 h 952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45158" h="952198">
                <a:moveTo>
                  <a:pt x="3701" y="0"/>
                </a:moveTo>
                <a:lnTo>
                  <a:pt x="9241457" y="0"/>
                </a:lnTo>
                <a:lnTo>
                  <a:pt x="9245158" y="29224"/>
                </a:lnTo>
                <a:cubicBezTo>
                  <a:pt x="9245158" y="538968"/>
                  <a:pt x="7175559" y="952198"/>
                  <a:pt x="4622579" y="952198"/>
                </a:cubicBezTo>
                <a:cubicBezTo>
                  <a:pt x="2069599" y="952198"/>
                  <a:pt x="0" y="538968"/>
                  <a:pt x="0" y="29224"/>
                </a:cubicBezTo>
                <a:lnTo>
                  <a:pt x="3701" y="0"/>
                </a:lnTo>
                <a:close/>
              </a:path>
            </a:pathLst>
          </a:custGeom>
          <a:gradFill flip="none" rotWithShape="1">
            <a:gsLst>
              <a:gs pos="0">
                <a:srgbClr val="FF0000"/>
              </a:gs>
              <a:gs pos="100000">
                <a:srgbClr val="6D5B97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 hangingPunct="0"/>
            <a:endParaRPr lang="en-US" kern="0" dirty="0">
              <a:solidFill>
                <a:srgbClr val="FFFFFF"/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782298" y="35626"/>
            <a:ext cx="5199867" cy="523218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kern="1200" dirty="0">
                <a:solidFill>
                  <a:schemeClr val="bg1"/>
                </a:solidFill>
              </a:rPr>
              <a:t>High Speed Internet Service</a:t>
            </a:r>
            <a:endParaRPr lang="zh-CN" altLang="en-US" sz="2800" b="1" kern="1200" dirty="0">
              <a:solidFill>
                <a:schemeClr val="bg1"/>
              </a:solidFill>
            </a:endParaRP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27" y="2453591"/>
            <a:ext cx="4046274" cy="3691644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090" y="3170645"/>
            <a:ext cx="3453203" cy="1621322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582427" y="3989317"/>
            <a:ext cx="2399740" cy="112670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6200" y="656948"/>
            <a:ext cx="108713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b="1" kern="1200" dirty="0">
                <a:solidFill>
                  <a:srgbClr val="002060"/>
                </a:solidFill>
              </a:rPr>
              <a:t>FTTX and LTE-A/5G projects will be finalized in 2022 to provide nationwide coverag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02" t="11414" r="29623" b="3014"/>
          <a:stretch/>
        </p:blipFill>
        <p:spPr>
          <a:xfrm>
            <a:off x="7045262" y="1842454"/>
            <a:ext cx="3921343" cy="44323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7239000" y="1324436"/>
            <a:ext cx="35882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kern="1200" dirty="0">
                <a:solidFill>
                  <a:srgbClr val="002060"/>
                </a:solidFill>
              </a:rPr>
              <a:t>Overall LTE-A/5G Coverage</a:t>
            </a:r>
          </a:p>
        </p:txBody>
      </p:sp>
    </p:spTree>
    <p:extLst>
      <p:ext uri="{BB962C8B-B14F-4D97-AF65-F5344CB8AC3E}">
        <p14:creationId xmlns:p14="http://schemas.microsoft.com/office/powerpoint/2010/main" val="31631094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Freeform: Shape 111">
            <a:extLst>
              <a:ext uri="{FF2B5EF4-FFF2-40B4-BE49-F238E27FC236}">
                <a16:creationId xmlns:a16="http://schemas.microsoft.com/office/drawing/2014/main" id="{757583BF-B86D-4C24-A140-54BA4535AB58}"/>
              </a:ext>
            </a:extLst>
          </p:cNvPr>
          <p:cNvSpPr/>
          <p:nvPr/>
        </p:nvSpPr>
        <p:spPr>
          <a:xfrm>
            <a:off x="2209800" y="13694"/>
            <a:ext cx="7414171" cy="622541"/>
          </a:xfrm>
          <a:custGeom>
            <a:avLst/>
            <a:gdLst>
              <a:gd name="connsiteX0" fmla="*/ 3701 w 9245158"/>
              <a:gd name="connsiteY0" fmla="*/ 0 h 952198"/>
              <a:gd name="connsiteX1" fmla="*/ 9241457 w 9245158"/>
              <a:gd name="connsiteY1" fmla="*/ 0 h 952198"/>
              <a:gd name="connsiteX2" fmla="*/ 9245158 w 9245158"/>
              <a:gd name="connsiteY2" fmla="*/ 29224 h 952198"/>
              <a:gd name="connsiteX3" fmla="*/ 4622579 w 9245158"/>
              <a:gd name="connsiteY3" fmla="*/ 952198 h 952198"/>
              <a:gd name="connsiteX4" fmla="*/ 0 w 9245158"/>
              <a:gd name="connsiteY4" fmla="*/ 29224 h 952198"/>
              <a:gd name="connsiteX5" fmla="*/ 3701 w 9245158"/>
              <a:gd name="connsiteY5" fmla="*/ 0 h 952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45158" h="952198">
                <a:moveTo>
                  <a:pt x="3701" y="0"/>
                </a:moveTo>
                <a:lnTo>
                  <a:pt x="9241457" y="0"/>
                </a:lnTo>
                <a:lnTo>
                  <a:pt x="9245158" y="29224"/>
                </a:lnTo>
                <a:cubicBezTo>
                  <a:pt x="9245158" y="538968"/>
                  <a:pt x="7175559" y="952198"/>
                  <a:pt x="4622579" y="952198"/>
                </a:cubicBezTo>
                <a:cubicBezTo>
                  <a:pt x="2069599" y="952198"/>
                  <a:pt x="0" y="538968"/>
                  <a:pt x="0" y="29224"/>
                </a:cubicBezTo>
                <a:lnTo>
                  <a:pt x="3701" y="0"/>
                </a:lnTo>
                <a:close/>
              </a:path>
            </a:pathLst>
          </a:custGeom>
          <a:gradFill flip="none" rotWithShape="1">
            <a:gsLst>
              <a:gs pos="0">
                <a:srgbClr val="FF0000"/>
              </a:gs>
              <a:gs pos="100000">
                <a:srgbClr val="6D5B97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 hangingPunct="0"/>
            <a:endParaRPr lang="en-US" kern="0" dirty="0">
              <a:solidFill>
                <a:srgbClr val="FFFFFF"/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782298" y="35626"/>
            <a:ext cx="5199867" cy="523218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kern="1200" dirty="0">
                <a:solidFill>
                  <a:schemeClr val="bg1"/>
                </a:solidFill>
              </a:rPr>
              <a:t>Core Network Upgrade</a:t>
            </a:r>
            <a:endParaRPr lang="zh-CN" altLang="en-US" sz="2800" b="1" kern="1200" dirty="0">
              <a:solidFill>
                <a:schemeClr val="bg1"/>
              </a:solidFill>
            </a:endParaRPr>
          </a:p>
        </p:txBody>
      </p:sp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1152610"/>
            <a:ext cx="9410700" cy="570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19573" y="660643"/>
            <a:ext cx="59581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kern="1200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GERO Aggregation Network Topology</a:t>
            </a:r>
          </a:p>
        </p:txBody>
      </p:sp>
    </p:spTree>
    <p:extLst>
      <p:ext uri="{BB962C8B-B14F-4D97-AF65-F5344CB8AC3E}">
        <p14:creationId xmlns:p14="http://schemas.microsoft.com/office/powerpoint/2010/main" val="3879298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Freeform: Shape 111">
            <a:extLst>
              <a:ext uri="{FF2B5EF4-FFF2-40B4-BE49-F238E27FC236}">
                <a16:creationId xmlns:a16="http://schemas.microsoft.com/office/drawing/2014/main" id="{757583BF-B86D-4C24-A140-54BA4535AB58}"/>
              </a:ext>
            </a:extLst>
          </p:cNvPr>
          <p:cNvSpPr/>
          <p:nvPr/>
        </p:nvSpPr>
        <p:spPr>
          <a:xfrm>
            <a:off x="2819402" y="2"/>
            <a:ext cx="7414171" cy="622541"/>
          </a:xfrm>
          <a:custGeom>
            <a:avLst/>
            <a:gdLst>
              <a:gd name="connsiteX0" fmla="*/ 3701 w 9245158"/>
              <a:gd name="connsiteY0" fmla="*/ 0 h 952198"/>
              <a:gd name="connsiteX1" fmla="*/ 9241457 w 9245158"/>
              <a:gd name="connsiteY1" fmla="*/ 0 h 952198"/>
              <a:gd name="connsiteX2" fmla="*/ 9245158 w 9245158"/>
              <a:gd name="connsiteY2" fmla="*/ 29224 h 952198"/>
              <a:gd name="connsiteX3" fmla="*/ 4622579 w 9245158"/>
              <a:gd name="connsiteY3" fmla="*/ 952198 h 952198"/>
              <a:gd name="connsiteX4" fmla="*/ 0 w 9245158"/>
              <a:gd name="connsiteY4" fmla="*/ 29224 h 952198"/>
              <a:gd name="connsiteX5" fmla="*/ 3701 w 9245158"/>
              <a:gd name="connsiteY5" fmla="*/ 0 h 952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45158" h="952198">
                <a:moveTo>
                  <a:pt x="3701" y="0"/>
                </a:moveTo>
                <a:lnTo>
                  <a:pt x="9241457" y="0"/>
                </a:lnTo>
                <a:lnTo>
                  <a:pt x="9245158" y="29224"/>
                </a:lnTo>
                <a:cubicBezTo>
                  <a:pt x="9245158" y="538968"/>
                  <a:pt x="7175559" y="952198"/>
                  <a:pt x="4622579" y="952198"/>
                </a:cubicBezTo>
                <a:cubicBezTo>
                  <a:pt x="2069599" y="952198"/>
                  <a:pt x="0" y="538968"/>
                  <a:pt x="0" y="29224"/>
                </a:cubicBezTo>
                <a:lnTo>
                  <a:pt x="3701" y="0"/>
                </a:lnTo>
                <a:close/>
              </a:path>
            </a:pathLst>
          </a:custGeom>
          <a:gradFill flip="none" rotWithShape="1">
            <a:gsLst>
              <a:gs pos="0">
                <a:srgbClr val="FF0000"/>
              </a:gs>
              <a:gs pos="100000">
                <a:srgbClr val="6D5B97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 hangingPunct="0"/>
            <a:endParaRPr lang="en-US" kern="0" dirty="0">
              <a:solidFill>
                <a:srgbClr val="FFFFFF"/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782298" y="35626"/>
            <a:ext cx="5199867" cy="523218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kern="1200" dirty="0">
                <a:solidFill>
                  <a:schemeClr val="bg1"/>
                </a:solidFill>
              </a:rPr>
              <a:t>Core Network Upgrade</a:t>
            </a:r>
            <a:endParaRPr lang="zh-CN" altLang="en-US" sz="2800" b="1" kern="12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19573" y="660643"/>
            <a:ext cx="44406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kern="1200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GERO OTN/DWDM Network</a:t>
            </a:r>
          </a:p>
        </p:txBody>
      </p:sp>
      <p:pic>
        <p:nvPicPr>
          <p:cNvPr id="593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0281" y="1202913"/>
            <a:ext cx="7954963" cy="541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9636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Freeform: Shape 111">
            <a:extLst>
              <a:ext uri="{FF2B5EF4-FFF2-40B4-BE49-F238E27FC236}">
                <a16:creationId xmlns:a16="http://schemas.microsoft.com/office/drawing/2014/main" id="{757583BF-B86D-4C24-A140-54BA4535AB58}"/>
              </a:ext>
            </a:extLst>
          </p:cNvPr>
          <p:cNvSpPr/>
          <p:nvPr/>
        </p:nvSpPr>
        <p:spPr>
          <a:xfrm>
            <a:off x="2819402" y="2"/>
            <a:ext cx="7414171" cy="622541"/>
          </a:xfrm>
          <a:custGeom>
            <a:avLst/>
            <a:gdLst>
              <a:gd name="connsiteX0" fmla="*/ 3701 w 9245158"/>
              <a:gd name="connsiteY0" fmla="*/ 0 h 952198"/>
              <a:gd name="connsiteX1" fmla="*/ 9241457 w 9245158"/>
              <a:gd name="connsiteY1" fmla="*/ 0 h 952198"/>
              <a:gd name="connsiteX2" fmla="*/ 9245158 w 9245158"/>
              <a:gd name="connsiteY2" fmla="*/ 29224 h 952198"/>
              <a:gd name="connsiteX3" fmla="*/ 4622579 w 9245158"/>
              <a:gd name="connsiteY3" fmla="*/ 952198 h 952198"/>
              <a:gd name="connsiteX4" fmla="*/ 0 w 9245158"/>
              <a:gd name="connsiteY4" fmla="*/ 29224 h 952198"/>
              <a:gd name="connsiteX5" fmla="*/ 3701 w 9245158"/>
              <a:gd name="connsiteY5" fmla="*/ 0 h 952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45158" h="952198">
                <a:moveTo>
                  <a:pt x="3701" y="0"/>
                </a:moveTo>
                <a:lnTo>
                  <a:pt x="9241457" y="0"/>
                </a:lnTo>
                <a:lnTo>
                  <a:pt x="9245158" y="29224"/>
                </a:lnTo>
                <a:cubicBezTo>
                  <a:pt x="9245158" y="538968"/>
                  <a:pt x="7175559" y="952198"/>
                  <a:pt x="4622579" y="952198"/>
                </a:cubicBezTo>
                <a:cubicBezTo>
                  <a:pt x="2069599" y="952198"/>
                  <a:pt x="0" y="538968"/>
                  <a:pt x="0" y="29224"/>
                </a:cubicBezTo>
                <a:lnTo>
                  <a:pt x="3701" y="0"/>
                </a:lnTo>
                <a:close/>
              </a:path>
            </a:pathLst>
          </a:custGeom>
          <a:gradFill flip="none" rotWithShape="1">
            <a:gsLst>
              <a:gs pos="0">
                <a:srgbClr val="FF0000"/>
              </a:gs>
              <a:gs pos="100000">
                <a:srgbClr val="6D5B97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 hangingPunct="0"/>
            <a:endParaRPr lang="en-US" kern="0" dirty="0">
              <a:solidFill>
                <a:srgbClr val="FFFFFF"/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782298" y="35626"/>
            <a:ext cx="5199867" cy="523218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kern="1200" dirty="0">
                <a:solidFill>
                  <a:schemeClr val="bg1"/>
                </a:solidFill>
              </a:rPr>
              <a:t>Lebanon Submarine Cables</a:t>
            </a:r>
            <a:endParaRPr lang="zh-CN" altLang="en-US" sz="2800" b="1" kern="1200" dirty="0">
              <a:solidFill>
                <a:schemeClr val="bg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45" r="3750"/>
          <a:stretch/>
        </p:blipFill>
        <p:spPr>
          <a:xfrm>
            <a:off x="38101" y="1162050"/>
            <a:ext cx="11734800" cy="5695950"/>
          </a:xfrm>
          <a:prstGeom prst="rect">
            <a:avLst/>
          </a:prstGeom>
        </p:spPr>
      </p:pic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1" y="4316414"/>
            <a:ext cx="2116137" cy="2541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89263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589280" y="1063648"/>
            <a:ext cx="9011920" cy="55053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en-US" sz="2300" kern="1200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2135" y="2217383"/>
            <a:ext cx="4266847" cy="33342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85" y="2049675"/>
            <a:ext cx="4497036" cy="396997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821135" y="5511138"/>
            <a:ext cx="169623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Smart Environm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110857" y="3917696"/>
            <a:ext cx="112082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Smart Citi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544220" y="2227078"/>
            <a:ext cx="116410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Smart Hom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960335" y="1828176"/>
            <a:ext cx="117282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Smart Wate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38880" y="4367858"/>
            <a:ext cx="96475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hangingPunct="1"/>
            <a:r>
              <a:rPr lang="en-US" sz="1500" kern="1200" dirty="0">
                <a:solidFill>
                  <a:srgbClr val="1F497D"/>
                </a:solidFill>
              </a:rPr>
              <a:t>Industrial </a:t>
            </a:r>
          </a:p>
          <a:p>
            <a:pPr algn="ctr" defTabSz="457200" hangingPunct="1"/>
            <a:r>
              <a:rPr lang="en-US" sz="1500" kern="1200" dirty="0">
                <a:solidFill>
                  <a:srgbClr val="1F497D"/>
                </a:solidFill>
              </a:rPr>
              <a:t>Contro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2442" y="4760275"/>
            <a:ext cx="82599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Tracking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126888" y="5893626"/>
            <a:ext cx="83971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Logistic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675453" y="4774851"/>
            <a:ext cx="83708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E-healt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711537" y="2265464"/>
            <a:ext cx="103464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Commerc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21067" y="1907789"/>
            <a:ext cx="162852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Home Automa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577676" y="2846998"/>
            <a:ext cx="132440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Smart Building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17607" y="5496832"/>
            <a:ext cx="155908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Smart Agricultur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339845" y="4960348"/>
            <a:ext cx="207659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Intelligent Animal Farm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951686" y="1684445"/>
            <a:ext cx="155908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Smart Agricultur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161579" y="5576900"/>
            <a:ext cx="141429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Smart Metering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966604" y="2286755"/>
            <a:ext cx="143263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1500" kern="1200" dirty="0">
                <a:solidFill>
                  <a:srgbClr val="1F497D"/>
                </a:solidFill>
              </a:rPr>
              <a:t>Safety &amp; Rescue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-28082" y="1045908"/>
            <a:ext cx="122825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en-US" sz="2000" b="1" kern="1200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ll object becomes connected in order to build the smart homes, smart cities, smart environment…</a:t>
            </a:r>
          </a:p>
        </p:txBody>
      </p:sp>
      <p:sp>
        <p:nvSpPr>
          <p:cNvPr id="31" name="Freeform: Shape 111">
            <a:extLst>
              <a:ext uri="{FF2B5EF4-FFF2-40B4-BE49-F238E27FC236}">
                <a16:creationId xmlns:a16="http://schemas.microsoft.com/office/drawing/2014/main" id="{757583BF-B86D-4C24-A140-54BA4535AB58}"/>
              </a:ext>
            </a:extLst>
          </p:cNvPr>
          <p:cNvSpPr/>
          <p:nvPr/>
        </p:nvSpPr>
        <p:spPr>
          <a:xfrm>
            <a:off x="2819402" y="2"/>
            <a:ext cx="7414171" cy="622541"/>
          </a:xfrm>
          <a:custGeom>
            <a:avLst/>
            <a:gdLst>
              <a:gd name="connsiteX0" fmla="*/ 3701 w 9245158"/>
              <a:gd name="connsiteY0" fmla="*/ 0 h 952198"/>
              <a:gd name="connsiteX1" fmla="*/ 9241457 w 9245158"/>
              <a:gd name="connsiteY1" fmla="*/ 0 h 952198"/>
              <a:gd name="connsiteX2" fmla="*/ 9245158 w 9245158"/>
              <a:gd name="connsiteY2" fmla="*/ 29224 h 952198"/>
              <a:gd name="connsiteX3" fmla="*/ 4622579 w 9245158"/>
              <a:gd name="connsiteY3" fmla="*/ 952198 h 952198"/>
              <a:gd name="connsiteX4" fmla="*/ 0 w 9245158"/>
              <a:gd name="connsiteY4" fmla="*/ 29224 h 952198"/>
              <a:gd name="connsiteX5" fmla="*/ 3701 w 9245158"/>
              <a:gd name="connsiteY5" fmla="*/ 0 h 952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45158" h="952198">
                <a:moveTo>
                  <a:pt x="3701" y="0"/>
                </a:moveTo>
                <a:lnTo>
                  <a:pt x="9241457" y="0"/>
                </a:lnTo>
                <a:lnTo>
                  <a:pt x="9245158" y="29224"/>
                </a:lnTo>
                <a:cubicBezTo>
                  <a:pt x="9245158" y="538968"/>
                  <a:pt x="7175559" y="952198"/>
                  <a:pt x="4622579" y="952198"/>
                </a:cubicBezTo>
                <a:cubicBezTo>
                  <a:pt x="2069599" y="952198"/>
                  <a:pt x="0" y="538968"/>
                  <a:pt x="0" y="29224"/>
                </a:cubicBezTo>
                <a:lnTo>
                  <a:pt x="3701" y="0"/>
                </a:lnTo>
                <a:close/>
              </a:path>
            </a:pathLst>
          </a:custGeom>
          <a:gradFill flip="none" rotWithShape="1">
            <a:gsLst>
              <a:gs pos="0">
                <a:srgbClr val="FF0000"/>
              </a:gs>
              <a:gs pos="100000">
                <a:srgbClr val="6D5B97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 hangingPunct="0"/>
            <a:endParaRPr lang="en-US" kern="0" dirty="0">
              <a:solidFill>
                <a:srgbClr val="FFFFFF"/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782298" y="35626"/>
            <a:ext cx="5199867" cy="523218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defTabSz="794193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kern="1200" dirty="0">
                <a:solidFill>
                  <a:schemeClr val="tx1"/>
                </a:solidFill>
              </a:rPr>
              <a:t>                     NB - </a:t>
            </a:r>
            <a:r>
              <a:rPr lang="en-US" altLang="zh-CN" sz="2800" b="1" kern="1200" dirty="0" err="1">
                <a:solidFill>
                  <a:schemeClr val="tx1"/>
                </a:solidFill>
              </a:rPr>
              <a:t>IoT</a:t>
            </a:r>
            <a:endParaRPr lang="en-US" altLang="zh-CN" sz="2800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865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3B4057"/>
      </a:dk1>
      <a:lt1>
        <a:srgbClr val="FFFFFF"/>
      </a:lt1>
      <a:dk2>
        <a:srgbClr val="A7A7A7"/>
      </a:dk2>
      <a:lt2>
        <a:srgbClr val="535353"/>
      </a:lt2>
      <a:accent1>
        <a:srgbClr val="027CD0"/>
      </a:accent1>
      <a:accent2>
        <a:srgbClr val="0B5CD0"/>
      </a:accent2>
      <a:accent3>
        <a:srgbClr val="754DD0"/>
      </a:accent3>
      <a:accent4>
        <a:srgbClr val="7631D0"/>
      </a:accent4>
      <a:accent5>
        <a:srgbClr val="F49100"/>
      </a:accent5>
      <a:accent6>
        <a:srgbClr val="895100"/>
      </a:accent6>
      <a:hlink>
        <a:srgbClr val="0000FF"/>
      </a:hlink>
      <a:folHlink>
        <a:srgbClr val="FF00FF"/>
      </a:folHlink>
    </a:clrScheme>
    <a:fontScheme name="Office Theme">
      <a:majorFont>
        <a:latin typeface="Roboto Light"/>
        <a:ea typeface="Roboto Light"/>
        <a:cs typeface="Roboto Light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3B4057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3B4057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黎巴嫩 OGERO">
      <a:dk1>
        <a:sysClr val="windowText" lastClr="000000"/>
      </a:dk1>
      <a:lt1>
        <a:sysClr val="window" lastClr="FFFFFF"/>
      </a:lt1>
      <a:dk2>
        <a:srgbClr val="18397D"/>
      </a:dk2>
      <a:lt2>
        <a:srgbClr val="ACD4F2"/>
      </a:lt2>
      <a:accent1>
        <a:srgbClr val="00C800"/>
      </a:accent1>
      <a:accent2>
        <a:srgbClr val="92D050"/>
      </a:accent2>
      <a:accent3>
        <a:srgbClr val="C00000"/>
      </a:accent3>
      <a:accent4>
        <a:srgbClr val="0070C0"/>
      </a:accent4>
      <a:accent5>
        <a:srgbClr val="002060"/>
      </a:accent5>
      <a:accent6>
        <a:srgbClr val="F79646"/>
      </a:accent6>
      <a:hlink>
        <a:srgbClr val="00B0F0"/>
      </a:hlink>
      <a:folHlink>
        <a:srgbClr val="7F7F7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lac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C6000A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 Theme">
      <a:dk1>
        <a:srgbClr val="3B4057"/>
      </a:dk1>
      <a:lt1>
        <a:srgbClr val="574C1C"/>
      </a:lt1>
      <a:dk2>
        <a:srgbClr val="A7A7A7"/>
      </a:dk2>
      <a:lt2>
        <a:srgbClr val="535353"/>
      </a:lt2>
      <a:accent1>
        <a:srgbClr val="027CD0"/>
      </a:accent1>
      <a:accent2>
        <a:srgbClr val="0B5CD0"/>
      </a:accent2>
      <a:accent3>
        <a:srgbClr val="754DD0"/>
      </a:accent3>
      <a:accent4>
        <a:srgbClr val="7631D0"/>
      </a:accent4>
      <a:accent5>
        <a:srgbClr val="F49100"/>
      </a:accent5>
      <a:accent6>
        <a:srgbClr val="895100"/>
      </a:accent6>
      <a:hlink>
        <a:srgbClr val="0000FF"/>
      </a:hlink>
      <a:folHlink>
        <a:srgbClr val="FF00FF"/>
      </a:folHlink>
    </a:clrScheme>
    <a:fontScheme name="Office Theme">
      <a:majorFont>
        <a:latin typeface="Roboto Light"/>
        <a:ea typeface="Roboto Light"/>
        <a:cs typeface="Roboto Light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3B4057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3B4057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615</TotalTime>
  <Words>681</Words>
  <Application>Microsoft Office PowerPoint</Application>
  <PresentationFormat>Widescreen</PresentationFormat>
  <Paragraphs>191</Paragraphs>
  <Slides>24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3" baseType="lpstr">
      <vt:lpstr>Microsoft YaHei</vt:lpstr>
      <vt:lpstr>Aileron</vt:lpstr>
      <vt:lpstr>Arial</vt:lpstr>
      <vt:lpstr>Calibri</vt:lpstr>
      <vt:lpstr>DIN Condensed Bold</vt:lpstr>
      <vt:lpstr>FrutigerNext LT Medium</vt:lpstr>
      <vt:lpstr>Helvetica</vt:lpstr>
      <vt:lpstr>Montserrat Light</vt:lpstr>
      <vt:lpstr>Roboto Light</vt:lpstr>
      <vt:lpstr>Roboto Medium</vt:lpstr>
      <vt:lpstr>Roboto Regular</vt:lpstr>
      <vt:lpstr>Roboto Slab Regular</vt:lpstr>
      <vt:lpstr>Times New Roman</vt:lpstr>
      <vt:lpstr>Wingdings</vt:lpstr>
      <vt:lpstr>Office Theme</vt:lpstr>
      <vt:lpstr>1_Office Theme</vt:lpstr>
      <vt:lpstr>1_Black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llaborative Public Safety Solution Collaboration, Command, Control, Communication, Cloud, Intelligence, Surveillance and Reconnaissance.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hmad Itani</dc:creator>
  <cp:lastModifiedBy>Imad Abou Rached</cp:lastModifiedBy>
  <cp:revision>346</cp:revision>
  <cp:lastPrinted>2019-10-07T09:07:25Z</cp:lastPrinted>
  <dcterms:modified xsi:type="dcterms:W3CDTF">2021-02-16T11:39:13Z</dcterms:modified>
</cp:coreProperties>
</file>